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3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Ex4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charts/chartEx5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Ex6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Ex7.xml" ContentType="application/vnd.ms-office.chartex+xml"/>
  <Override PartName="/ppt/charts/style7.xml" ContentType="application/vnd.ms-office.chartstyle+xml"/>
  <Override PartName="/ppt/charts/colors7.xml" ContentType="application/vnd.ms-office.chartcolorstyle+xml"/>
  <Override PartName="/ppt/charts/chartEx8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charts/chartEx9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ppt/charts/chartEx10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9" r:id="rId1"/>
  </p:sldMasterIdLst>
  <p:sldIdLst>
    <p:sldId id="262" r:id="rId2"/>
    <p:sldId id="263" r:id="rId3"/>
    <p:sldId id="265" r:id="rId4"/>
    <p:sldId id="266" r:id="rId5"/>
    <p:sldId id="267" r:id="rId6"/>
  </p:sldIdLst>
  <p:sldSz cx="10059988" cy="7773988"/>
  <p:notesSz cx="6858000" cy="9144000"/>
  <p:defaultTextStyle>
    <a:defPPr>
      <a:defRPr lang="zh-CN"/>
    </a:defPPr>
    <a:lvl1pPr marL="0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504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9007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511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8015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518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7022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6526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6029" algn="l" defTabSz="101900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49" userDrawn="1">
          <p15:clr>
            <a:srgbClr val="A4A3A4"/>
          </p15:clr>
        </p15:guide>
        <p15:guide id="2" pos="316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C4C8"/>
    <a:srgbClr val="F3EBE3"/>
    <a:srgbClr val="BAC0D8"/>
    <a:srgbClr val="DBB2C3"/>
    <a:srgbClr val="626A7B"/>
    <a:srgbClr val="92A2B7"/>
    <a:srgbClr val="FFFFFF"/>
    <a:srgbClr val="000000"/>
    <a:srgbClr val="D9D9D9"/>
    <a:srgbClr val="DECE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174" autoAdjust="0"/>
    <p:restoredTop sz="94660"/>
  </p:normalViewPr>
  <p:slideViewPr>
    <p:cSldViewPr>
      <p:cViewPr varScale="1">
        <p:scale>
          <a:sx n="57" d="100"/>
          <a:sy n="57" d="100"/>
        </p:scale>
        <p:origin x="699" y="39"/>
      </p:cViewPr>
      <p:guideLst>
        <p:guide orient="horz" pos="2449"/>
        <p:guide pos="316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_rels/chartEx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oleObject" Target="file:///E:\guangfa_security\&#35838;&#39064;6%20&#21019;&#19994;&#26495;&#25351;&#25968;&#22238;&#25764;&#30740;&#31350;\&#35838;&#39064;6%20&#21019;&#19994;&#26495;&#25351;&#25968;&#22238;&#25764;&#30740;&#31350;-202103091443.xlsx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7:$A$41</cx:f>
        <cx:lvl ptCount="15">
          <cx:pt idx="0">#REF!</cx:pt>
          <cx:pt idx="1">#REF!</cx:pt>
          <cx:pt idx="2">#REF!</cx:pt>
          <cx:pt idx="3">#REF!</cx:pt>
          <cx:pt idx="4">#REF!</cx:pt>
          <cx:pt idx="5">#REF!</cx:pt>
          <cx:pt idx="6">#REF!</cx:pt>
          <cx:pt idx="7">#REF!</cx:pt>
          <cx:pt idx="8">#REF!</cx:pt>
          <cx:pt idx="9">#REF!</cx:pt>
          <cx:pt idx="10">#REF!</cx:pt>
          <cx:pt idx="11">#REF!</cx:pt>
          <cx:pt idx="12">#REF!</cx:pt>
          <cx:pt idx="13">#REF!</cx:pt>
          <cx:pt idx="14">#REF!</cx:pt>
        </cx:lvl>
      </cx:strDim>
      <cx:numDim type="val">
        <cx:f>'1.'!$L$2:$L$2617</cx:f>
        <cx:lvl ptCount="2616" formatCode="G/通用格式">
          <cx:pt idx="0">0.69739943564581897</cx:pt>
          <cx:pt idx="1">0.69739943564581897</cx:pt>
          <cx:pt idx="2">0.69739943564581897</cx:pt>
          <cx:pt idx="3">0.69739943564581897</cx:pt>
          <cx:pt idx="4">0.69739943564581897</cx:pt>
          <cx:pt idx="5">0.69739943564581897</cx:pt>
          <cx:pt idx="6">0.69739943564581897</cx:pt>
          <cx:pt idx="7">0.69739943564581897</cx:pt>
          <cx:pt idx="8">0.69739943564581897</cx:pt>
          <cx:pt idx="9">0.69739943564581897</cx:pt>
          <cx:pt idx="10">0.69739943564581897</cx:pt>
          <cx:pt idx="11">0.69739943564581897</cx:pt>
          <cx:pt idx="12">0.69739943564581897</cx:pt>
          <cx:pt idx="13">0.69739943564581897</cx:pt>
          <cx:pt idx="14">0.69739943564581897</cx:pt>
          <cx:pt idx="15">0.69739943564581897</cx:pt>
          <cx:pt idx="16">0.69739943564581897</cx:pt>
          <cx:pt idx="17">0.69739943564581897</cx:pt>
          <cx:pt idx="18">0.69739943564581897</cx:pt>
          <cx:pt idx="19">0.69739943564581897</cx:pt>
          <cx:pt idx="20">0.69739943564581897</cx:pt>
          <cx:pt idx="21">0.69739943564581897</cx:pt>
          <cx:pt idx="22">0.69739943564581897</cx:pt>
          <cx:pt idx="23">0.69739943564581897</cx:pt>
          <cx:pt idx="24">0.69739943564581897</cx:pt>
          <cx:pt idx="25">0.69739943564581897</cx:pt>
          <cx:pt idx="26">0.69739943564581897</cx:pt>
          <cx:pt idx="27">0.69739943564581897</cx:pt>
          <cx:pt idx="28">0.69739943564581897</cx:pt>
          <cx:pt idx="29">0.69739943564581897</cx:pt>
          <cx:pt idx="30">0.69739943564581897</cx:pt>
          <cx:pt idx="31">0.69739943564581897</cx:pt>
          <cx:pt idx="32">0.69739943564581897</cx:pt>
          <cx:pt idx="33">0.69739943564581897</cx:pt>
          <cx:pt idx="34">0.69739943564581897</cx:pt>
          <cx:pt idx="35">0.69739943564581897</cx:pt>
          <cx:pt idx="36">0.69739943564581897</cx:pt>
          <cx:pt idx="37">0.69739943564581897</cx:pt>
          <cx:pt idx="38">0.69739943564581897</cx:pt>
          <cx:pt idx="39">0.69739943564581897</cx:pt>
          <cx:pt idx="40">0.69739943564581897</cx:pt>
          <cx:pt idx="41">0.69739943564581897</cx:pt>
          <cx:pt idx="42">0.69739943564581897</cx:pt>
          <cx:pt idx="43">0.69739943564581897</cx:pt>
          <cx:pt idx="44">0.69739943564581897</cx:pt>
          <cx:pt idx="45">0.69739943564581897</cx:pt>
          <cx:pt idx="46">0.69739943564581897</cx:pt>
          <cx:pt idx="47">0.69739943564581897</cx:pt>
          <cx:pt idx="48">0.69739943564581897</cx:pt>
          <cx:pt idx="49">0.69739943564581897</cx:pt>
          <cx:pt idx="50">0.69739943564581897</cx:pt>
          <cx:pt idx="51">0.69739943564581897</cx:pt>
          <cx:pt idx="52">0.69739943564581897</cx:pt>
          <cx:pt idx="53">0.69739943564581897</cx:pt>
          <cx:pt idx="54">0.69739943564581897</cx:pt>
          <cx:pt idx="55">0.69739943564581897</cx:pt>
          <cx:pt idx="56">0.69739943564581897</cx:pt>
          <cx:pt idx="57">0.69739943564581897</cx:pt>
          <cx:pt idx="58">0.69739943564581897</cx:pt>
          <cx:pt idx="59">0.69739943564581897</cx:pt>
          <cx:pt idx="60">0.69739943564581897</cx:pt>
          <cx:pt idx="61">0.69739943564581897</cx:pt>
          <cx:pt idx="62">0.69739943564581897</cx:pt>
          <cx:pt idx="63">0.69739943564581897</cx:pt>
          <cx:pt idx="64">0.69739943564581897</cx:pt>
          <cx:pt idx="65">0.69739943564581897</cx:pt>
          <cx:pt idx="66">0.69739943564581897</cx:pt>
          <cx:pt idx="67">0.69739943564581897</cx:pt>
          <cx:pt idx="68">0.69739943564581897</cx:pt>
          <cx:pt idx="69">0.69739943564581897</cx:pt>
          <cx:pt idx="70">0.69739943564581897</cx:pt>
          <cx:pt idx="71">0.69739943564581897</cx:pt>
          <cx:pt idx="72">0.69739943564581897</cx:pt>
          <cx:pt idx="73">0.69739943564581897</cx:pt>
          <cx:pt idx="74">0.69739943564581897</cx:pt>
          <cx:pt idx="75">0.69739943564581897</cx:pt>
          <cx:pt idx="76">0.69739943564581897</cx:pt>
          <cx:pt idx="77">0.69739943564581897</cx:pt>
          <cx:pt idx="78">0.69739943564581897</cx:pt>
          <cx:pt idx="79">0.69739943564581897</cx:pt>
          <cx:pt idx="80">0.69739943564581897</cx:pt>
          <cx:pt idx="81">0.69739943564581897</cx:pt>
          <cx:pt idx="82">0.69739943564581897</cx:pt>
          <cx:pt idx="83">0.69739943564581897</cx:pt>
          <cx:pt idx="84">0.69739943564581897</cx:pt>
          <cx:pt idx="85">0.69739943564581897</cx:pt>
          <cx:pt idx="86">0.69739943564581897</cx:pt>
          <cx:pt idx="87">0.69739943564581897</cx:pt>
          <cx:pt idx="88">0.69739943564581897</cx:pt>
          <cx:pt idx="89">0.69739943564581897</cx:pt>
          <cx:pt idx="90">0.69739943564581897</cx:pt>
          <cx:pt idx="91">0.69739943564581897</cx:pt>
          <cx:pt idx="92">0.69739943564581897</cx:pt>
          <cx:pt idx="93">0.69739943564581897</cx:pt>
          <cx:pt idx="94">0.69739943564581897</cx:pt>
          <cx:pt idx="95">0.69739943564581897</cx:pt>
          <cx:pt idx="96">0.69739943564581897</cx:pt>
          <cx:pt idx="97">0.69739943564581897</cx:pt>
          <cx:pt idx="98">0.69739943564581897</cx:pt>
          <cx:pt idx="99">0.69739943564581897</cx:pt>
          <cx:pt idx="100">0.69739943564581897</cx:pt>
          <cx:pt idx="101">0.69739943564581897</cx:pt>
          <cx:pt idx="102">0.69739943564581897</cx:pt>
          <cx:pt idx="103">0.69739943564581897</cx:pt>
          <cx:pt idx="104">0.69739943564581897</cx:pt>
          <cx:pt idx="105">0.69739943564581897</cx:pt>
          <cx:pt idx="106">0.69739943564581897</cx:pt>
          <cx:pt idx="107">0.69739943564581897</cx:pt>
          <cx:pt idx="108">0.69739943564581897</cx:pt>
          <cx:pt idx="109">0.69739943564581897</cx:pt>
          <cx:pt idx="110">0.69739943564581897</cx:pt>
          <cx:pt idx="111">0.69739943564581897</cx:pt>
          <cx:pt idx="112">0.69739943564581897</cx:pt>
          <cx:pt idx="113">0.69739943564581897</cx:pt>
          <cx:pt idx="114">0.69739943564581897</cx:pt>
          <cx:pt idx="115">0.69739943564581897</cx:pt>
          <cx:pt idx="116">0.69739943564581897</cx:pt>
          <cx:pt idx="117">0.69739943564581897</cx:pt>
          <cx:pt idx="118">0.69739943564581897</cx:pt>
          <cx:pt idx="119">0.69739943564581897</cx:pt>
          <cx:pt idx="120">0.69739943564581897</cx:pt>
          <cx:pt idx="121">0.69739943564581897</cx:pt>
          <cx:pt idx="122">0.69739943564581897</cx:pt>
          <cx:pt idx="123">0.69739943564581897</cx:pt>
          <cx:pt idx="124">0.69739943564581897</cx:pt>
          <cx:pt idx="125">0.69739943564581897</cx:pt>
          <cx:pt idx="126">0.69739943564581897</cx:pt>
          <cx:pt idx="127">0.69739943564581897</cx:pt>
          <cx:pt idx="128">0.69739943564581897</cx:pt>
          <cx:pt idx="129">0.69739943564581897</cx:pt>
          <cx:pt idx="130">0.69739943564581897</cx:pt>
          <cx:pt idx="131">0.69739943564581897</cx:pt>
          <cx:pt idx="132">0.69739943564581897</cx:pt>
          <cx:pt idx="133">0.69739943564581897</cx:pt>
          <cx:pt idx="134">0.69739943564581897</cx:pt>
          <cx:pt idx="135">0.69739943564581897</cx:pt>
          <cx:pt idx="136">0.69739943564581897</cx:pt>
          <cx:pt idx="137">0.69739943564581897</cx:pt>
          <cx:pt idx="138">0.69739943564581897</cx:pt>
          <cx:pt idx="139">0.69739943564581897</cx:pt>
          <cx:pt idx="140">0.69739943564581897</cx:pt>
          <cx:pt idx="141">0.69739943564581897</cx:pt>
          <cx:pt idx="142">0.69739943564581897</cx:pt>
          <cx:pt idx="143">0.69739943564581897</cx:pt>
          <cx:pt idx="144">0.69739943564581897</cx:pt>
          <cx:pt idx="145">0.69739943564581897</cx:pt>
          <cx:pt idx="146">0.69739943564581897</cx:pt>
          <cx:pt idx="147">0.69739943564581897</cx:pt>
          <cx:pt idx="148">0.69739943564581897</cx:pt>
          <cx:pt idx="149">0.69739943564581897</cx:pt>
          <cx:pt idx="150">0.69739943564581897</cx:pt>
          <cx:pt idx="151">0.69739943564581897</cx:pt>
          <cx:pt idx="152">0.69739943564581897</cx:pt>
          <cx:pt idx="153">0.69739943564581897</cx:pt>
          <cx:pt idx="154">0.69739943564581897</cx:pt>
          <cx:pt idx="155">0.69739943564581897</cx:pt>
          <cx:pt idx="156">0.69739943564581897</cx:pt>
          <cx:pt idx="157">0.69739943564581897</cx:pt>
          <cx:pt idx="158">0.69739943564581897</cx:pt>
          <cx:pt idx="159">0.69739943564581897</cx:pt>
          <cx:pt idx="160">0.69739943564581897</cx:pt>
          <cx:pt idx="161">0.69739943564581897</cx:pt>
          <cx:pt idx="162">0.69739943564581897</cx:pt>
          <cx:pt idx="163">0.69739943564581897</cx:pt>
          <cx:pt idx="164">0.69739943564581897</cx:pt>
          <cx:pt idx="165">0.69739943564581897</cx:pt>
          <cx:pt idx="166">0.69739943564581897</cx:pt>
          <cx:pt idx="167">0.69739943564581897</cx:pt>
          <cx:pt idx="168">0.69739943564581897</cx:pt>
          <cx:pt idx="169">0.69739943564581897</cx:pt>
          <cx:pt idx="170">0.69739943564581897</cx:pt>
          <cx:pt idx="171">0.69739943564581897</cx:pt>
          <cx:pt idx="172">0.69739943564581897</cx:pt>
          <cx:pt idx="173">0.69739943564581897</cx:pt>
          <cx:pt idx="174">0.69739943564581897</cx:pt>
          <cx:pt idx="175">0.69739943564581897</cx:pt>
          <cx:pt idx="176">0.69739943564581897</cx:pt>
          <cx:pt idx="177">0.69739943564581897</cx:pt>
          <cx:pt idx="178">0.69739943564581897</cx:pt>
          <cx:pt idx="179">0.69739943564581897</cx:pt>
          <cx:pt idx="180">0.69739943564581897</cx:pt>
          <cx:pt idx="181">0.69739943564581897</cx:pt>
          <cx:pt idx="182">0.69739943564581897</cx:pt>
          <cx:pt idx="183">0.69739943564581897</cx:pt>
          <cx:pt idx="184">0.69739943564581897</cx:pt>
          <cx:pt idx="185">0.69739943564581897</cx:pt>
          <cx:pt idx="186">0.69739943564581897</cx:pt>
          <cx:pt idx="187">0.69739943564581897</cx:pt>
          <cx:pt idx="188">0.69739943564581897</cx:pt>
          <cx:pt idx="189">0.69739943564581897</cx:pt>
          <cx:pt idx="190">0.69739943564581897</cx:pt>
          <cx:pt idx="191">0.69739943564581897</cx:pt>
          <cx:pt idx="192">0.69739943564581897</cx:pt>
          <cx:pt idx="193">0.69739943564581897</cx:pt>
          <cx:pt idx="194">0.69739943564581897</cx:pt>
          <cx:pt idx="195">0.69739943564581897</cx:pt>
          <cx:pt idx="196">0.69739943564581897</cx:pt>
          <cx:pt idx="197">0.69739943564581897</cx:pt>
          <cx:pt idx="198">0.69739943564581897</cx:pt>
          <cx:pt idx="199">0.69739943564581897</cx:pt>
          <cx:pt idx="200">0.69739943564581897</cx:pt>
          <cx:pt idx="201">0.69739943564581897</cx:pt>
          <cx:pt idx="202">0.69739943564581897</cx:pt>
          <cx:pt idx="203">0.69739943564581897</cx:pt>
          <cx:pt idx="204">0.69739943564581897</cx:pt>
          <cx:pt idx="205">0.69739943564581897</cx:pt>
          <cx:pt idx="206">0.69739943564581897</cx:pt>
          <cx:pt idx="207">0.69739943564581897</cx:pt>
          <cx:pt idx="208">0.69739943564581897</cx:pt>
          <cx:pt idx="209">0.69739943564581897</cx:pt>
          <cx:pt idx="210">0.69739943564581897</cx:pt>
          <cx:pt idx="211">0.69739943564581897</cx:pt>
          <cx:pt idx="212">0.69739943564581897</cx:pt>
          <cx:pt idx="213">0.69739943564581897</cx:pt>
          <cx:pt idx="214">0.69739943564581897</cx:pt>
          <cx:pt idx="215">0.69739943564581897</cx:pt>
          <cx:pt idx="216">0.69739943564581897</cx:pt>
          <cx:pt idx="217">0.69739943564581897</cx:pt>
          <cx:pt idx="218">0.69739943564581897</cx:pt>
          <cx:pt idx="219">0.69739943564581897</cx:pt>
          <cx:pt idx="220">0.69739943564581897</cx:pt>
          <cx:pt idx="221">0.69739943564581897</cx:pt>
          <cx:pt idx="222">0.69739943564581897</cx:pt>
          <cx:pt idx="223">0.69739943564581897</cx:pt>
          <cx:pt idx="224">0.69739943564581897</cx:pt>
          <cx:pt idx="225">0.69739943564581897</cx:pt>
          <cx:pt idx="226">0.69739943564581897</cx:pt>
          <cx:pt idx="227">0.69739943564581897</cx:pt>
          <cx:pt idx="228">0.69739943564581897</cx:pt>
          <cx:pt idx="229">0.69739943564581897</cx:pt>
          <cx:pt idx="230">0.69739943564581897</cx:pt>
          <cx:pt idx="231">0.69739943564581897</cx:pt>
          <cx:pt idx="232">0.69739943564581897</cx:pt>
          <cx:pt idx="233">0.69739943564581897</cx:pt>
          <cx:pt idx="234">0.69739943564581897</cx:pt>
          <cx:pt idx="235">0.69739943564581897</cx:pt>
          <cx:pt idx="236">0.69739943564581897</cx:pt>
          <cx:pt idx="237">0.69739943564581897</cx:pt>
          <cx:pt idx="238">0.69739943564581897</cx:pt>
          <cx:pt idx="239">0.69739943564581897</cx:pt>
          <cx:pt idx="240">0.69739943564581897</cx:pt>
          <cx:pt idx="241">0.69739943564581897</cx:pt>
          <cx:pt idx="242">0.69739943564581897</cx:pt>
          <cx:pt idx="243">0.69739943564581897</cx:pt>
          <cx:pt idx="244">0.69739943564581897</cx:pt>
          <cx:pt idx="245">0.69739943564581897</cx:pt>
          <cx:pt idx="246">0.69739943564581897</cx:pt>
          <cx:pt idx="247">0.69739943564581897</cx:pt>
          <cx:pt idx="248">0.69739943564581897</cx:pt>
          <cx:pt idx="249">0.69739943564581897</cx:pt>
          <cx:pt idx="250">0.69739943564581897</cx:pt>
          <cx:pt idx="251">0.69739943564581897</cx:pt>
          <cx:pt idx="252">0.69739943564581897</cx:pt>
          <cx:pt idx="253">0.69739943564581897</cx:pt>
          <cx:pt idx="254">0.69739943564581897</cx:pt>
          <cx:pt idx="255">0.69739943564581897</cx:pt>
          <cx:pt idx="256">0.69739943564581897</cx:pt>
          <cx:pt idx="257">0.69739943564581897</cx:pt>
          <cx:pt idx="258">0.69739943564581897</cx:pt>
          <cx:pt idx="259">0.69739943564581897</cx:pt>
          <cx:pt idx="260">0.69739943564581897</cx:pt>
          <cx:pt idx="261">0.69739943564581897</cx:pt>
          <cx:pt idx="262">0.69739943564581897</cx:pt>
          <cx:pt idx="263">0.69739943564581897</cx:pt>
          <cx:pt idx="264">0.69739943564581897</cx:pt>
          <cx:pt idx="265">0.69739943564581897</cx:pt>
          <cx:pt idx="266">0.69739943564581897</cx:pt>
          <cx:pt idx="267">0.69739943564581897</cx:pt>
          <cx:pt idx="268">0.69739943564581897</cx:pt>
          <cx:pt idx="269">0.69739943564581897</cx:pt>
          <cx:pt idx="270">0.69739943564581897</cx:pt>
          <cx:pt idx="271">0.69739943564581897</cx:pt>
          <cx:pt idx="272">0.69739943564581897</cx:pt>
          <cx:pt idx="273">0.69739943564581897</cx:pt>
          <cx:pt idx="274">0.69739943564581897</cx:pt>
          <cx:pt idx="275">0.69739943564581897</cx:pt>
          <cx:pt idx="276">0.69739943564581897</cx:pt>
          <cx:pt idx="277">0.69739943564581897</cx:pt>
          <cx:pt idx="278">0.69739943564581897</cx:pt>
          <cx:pt idx="279">0.69739943564581897</cx:pt>
          <cx:pt idx="280">0.69739943564581897</cx:pt>
          <cx:pt idx="281">0.69739943564581897</cx:pt>
          <cx:pt idx="282">0.69739943564581897</cx:pt>
          <cx:pt idx="283">0.69739943564581897</cx:pt>
          <cx:pt idx="284">0.69739943564581897</cx:pt>
          <cx:pt idx="285">0.69739943564581897</cx:pt>
          <cx:pt idx="286">0.69739943564581897</cx:pt>
          <cx:pt idx="287">0.69739943564581897</cx:pt>
          <cx:pt idx="288">0.69739943564581897</cx:pt>
          <cx:pt idx="289">0.69739943564581897</cx:pt>
          <cx:pt idx="290">0.69739943564581897</cx:pt>
          <cx:pt idx="291">0.69739943564581897</cx:pt>
          <cx:pt idx="292">0.69739943564581897</cx:pt>
          <cx:pt idx="293">0.69739943564581897</cx:pt>
          <cx:pt idx="294">0.69739943564581897</cx:pt>
          <cx:pt idx="295">0.69739943564581897</cx:pt>
          <cx:pt idx="296">0.69739943564581897</cx:pt>
          <cx:pt idx="297">0.69739943564581897</cx:pt>
          <cx:pt idx="298">0.69739943564581897</cx:pt>
          <cx:pt idx="299">0.69739943564581897</cx:pt>
          <cx:pt idx="300">0.69739943564581897</cx:pt>
          <cx:pt idx="301">0.69739943564581897</cx:pt>
          <cx:pt idx="302">0.69739943564581897</cx:pt>
          <cx:pt idx="303">0.69739943564581897</cx:pt>
          <cx:pt idx="304">0.69739943564581897</cx:pt>
          <cx:pt idx="305">0.69739943564581897</cx:pt>
          <cx:pt idx="306">0.69739943564581897</cx:pt>
          <cx:pt idx="307">0.69739943564581897</cx:pt>
          <cx:pt idx="308">0.69739943564581897</cx:pt>
          <cx:pt idx="309">0.69739943564581897</cx:pt>
          <cx:pt idx="310">0.69739943564581897</cx:pt>
          <cx:pt idx="311">0.69739943564581897</cx:pt>
          <cx:pt idx="312">0.69739943564581897</cx:pt>
          <cx:pt idx="313">0.69739943564581897</cx:pt>
          <cx:pt idx="314">0.69739943564581897</cx:pt>
          <cx:pt idx="315">0.69739943564581897</cx:pt>
          <cx:pt idx="316">0.69739943564581897</cx:pt>
          <cx:pt idx="317">0.69739943564581897</cx:pt>
          <cx:pt idx="318">0.69739943564581897</cx:pt>
          <cx:pt idx="319">0.69739943564581897</cx:pt>
          <cx:pt idx="320">0.69739943564581897</cx:pt>
          <cx:pt idx="321">0.69739943564581897</cx:pt>
          <cx:pt idx="322">0.69739943564581897</cx:pt>
          <cx:pt idx="323">0.69739943564581897</cx:pt>
          <cx:pt idx="324">0.69739943564581897</cx:pt>
          <cx:pt idx="325">0.69739943564581897</cx:pt>
          <cx:pt idx="326">0.69739943564581897</cx:pt>
          <cx:pt idx="327">0.69739943564581897</cx:pt>
          <cx:pt idx="328">0.69739943564581897</cx:pt>
          <cx:pt idx="329">0.69739943564581897</cx:pt>
          <cx:pt idx="330">0.69739943564581897</cx:pt>
          <cx:pt idx="331">0.69739943564581897</cx:pt>
          <cx:pt idx="332">0.69739943564581897</cx:pt>
          <cx:pt idx="333">0.69739943564581897</cx:pt>
          <cx:pt idx="334">0.69739943564581897</cx:pt>
          <cx:pt idx="335">0.69739943564581897</cx:pt>
          <cx:pt idx="336">0.69739943564581897</cx:pt>
          <cx:pt idx="337">0.69739943564581897</cx:pt>
          <cx:pt idx="338">0.69739943564581897</cx:pt>
          <cx:pt idx="339">0.69739943564581897</cx:pt>
          <cx:pt idx="340">0.69739943564581897</cx:pt>
          <cx:pt idx="341">0.69739943564581897</cx:pt>
          <cx:pt idx="342">0.69739943564581897</cx:pt>
          <cx:pt idx="343">0.69739943564581897</cx:pt>
          <cx:pt idx="344">0.69739943564581897</cx:pt>
          <cx:pt idx="345">0.69739943564581897</cx:pt>
          <cx:pt idx="346">0.69739943564581897</cx:pt>
          <cx:pt idx="347">0.69739943564581897</cx:pt>
          <cx:pt idx="348">0.69739943564581897</cx:pt>
          <cx:pt idx="349">0.69739943564581897</cx:pt>
          <cx:pt idx="350">0.69739943564581897</cx:pt>
          <cx:pt idx="351">0.69739943564581897</cx:pt>
          <cx:pt idx="352">0.69739943564581897</cx:pt>
          <cx:pt idx="353">0.69739943564581897</cx:pt>
          <cx:pt idx="354">0.69739943564581897</cx:pt>
          <cx:pt idx="355">0.69739943564581897</cx:pt>
          <cx:pt idx="356">0.69739943564581897</cx:pt>
          <cx:pt idx="357">0.69739943564581897</cx:pt>
          <cx:pt idx="358">0.69739943564581897</cx:pt>
          <cx:pt idx="359">0.69739943564581897</cx:pt>
          <cx:pt idx="360">0.69739943564581897</cx:pt>
          <cx:pt idx="361">0.69739943564581897</cx:pt>
          <cx:pt idx="362">0.69739943564581897</cx:pt>
          <cx:pt idx="363">0.69739943564581897</cx:pt>
          <cx:pt idx="364">0.69739943564581897</cx:pt>
          <cx:pt idx="365">0.69739943564581897</cx:pt>
          <cx:pt idx="366">0.69739943564581897</cx:pt>
          <cx:pt idx="367">0.69739943564581897</cx:pt>
          <cx:pt idx="368">0.69739943564581897</cx:pt>
          <cx:pt idx="369">0.69739943564581897</cx:pt>
          <cx:pt idx="370">0.69739943564581897</cx:pt>
          <cx:pt idx="371">0.69739943564581897</cx:pt>
          <cx:pt idx="372">0.69739943564581897</cx:pt>
          <cx:pt idx="373">0.69739943564581897</cx:pt>
          <cx:pt idx="374">0.69739943564581897</cx:pt>
          <cx:pt idx="375">0.69739943564581897</cx:pt>
          <cx:pt idx="376">0.69739943564581897</cx:pt>
          <cx:pt idx="377">0.69739943564581897</cx:pt>
          <cx:pt idx="378">0.69739943564581897</cx:pt>
          <cx:pt idx="379">0.69739943564581897</cx:pt>
          <cx:pt idx="380">0.69739943564581897</cx:pt>
          <cx:pt idx="381">0.69739943564581897</cx:pt>
          <cx:pt idx="382">0.69739943564581897</cx:pt>
          <cx:pt idx="383">0.69739943564581897</cx:pt>
          <cx:pt idx="384">0.69739943564581897</cx:pt>
          <cx:pt idx="385">0.69739943564581897</cx:pt>
          <cx:pt idx="386">0.69739943564581897</cx:pt>
          <cx:pt idx="387">0.69739943564581897</cx:pt>
          <cx:pt idx="388">0.69739943564581897</cx:pt>
          <cx:pt idx="389">0.69739943564581897</cx:pt>
          <cx:pt idx="390">0.69739943564581897</cx:pt>
          <cx:pt idx="391">0.69739943564581897</cx:pt>
          <cx:pt idx="392">0.69739943564581897</cx:pt>
          <cx:pt idx="393">0.69739943564581897</cx:pt>
          <cx:pt idx="394">0.69739943564581897</cx:pt>
          <cx:pt idx="395">0.69739943564581897</cx:pt>
          <cx:pt idx="396">0.69739943564581897</cx:pt>
          <cx:pt idx="397">0.69739943564581897</cx:pt>
          <cx:pt idx="398">0.69739943564581897</cx:pt>
          <cx:pt idx="399">0.69739943564581897</cx:pt>
          <cx:pt idx="400">0.69739943564581897</cx:pt>
          <cx:pt idx="401">0.69739943564581897</cx:pt>
          <cx:pt idx="402">0.69739943564581897</cx:pt>
          <cx:pt idx="403">0.69739943564581897</cx:pt>
          <cx:pt idx="404">0.69739943564581897</cx:pt>
          <cx:pt idx="405">0.69739943564581897</cx:pt>
          <cx:pt idx="406">0.69739943564581897</cx:pt>
          <cx:pt idx="407">0.69739943564581897</cx:pt>
          <cx:pt idx="408">0.69739943564581897</cx:pt>
          <cx:pt idx="409">0.69739943564581897</cx:pt>
          <cx:pt idx="410">0.69739943564581897</cx:pt>
          <cx:pt idx="411">0.69739943564581897</cx:pt>
          <cx:pt idx="412">0.69739943564581897</cx:pt>
          <cx:pt idx="413">0.69739943564581897</cx:pt>
          <cx:pt idx="414">0.69739943564581897</cx:pt>
          <cx:pt idx="415">0.69739943564581897</cx:pt>
          <cx:pt idx="416">0.69739943564581897</cx:pt>
          <cx:pt idx="417">0.69739943564581897</cx:pt>
          <cx:pt idx="418">0.69739943564581897</cx:pt>
          <cx:pt idx="419">0.69739943564581897</cx:pt>
          <cx:pt idx="420">0.69739943564581897</cx:pt>
          <cx:pt idx="421">0.69739943564581897</cx:pt>
          <cx:pt idx="422">0.69739943564581897</cx:pt>
          <cx:pt idx="423">0.69739943564581897</cx:pt>
          <cx:pt idx="424">0.69739943564581897</cx:pt>
          <cx:pt idx="425">0.69739943564581897</cx:pt>
          <cx:pt idx="426">0.69739943564581897</cx:pt>
          <cx:pt idx="427">0.69739943564581897</cx:pt>
          <cx:pt idx="428">0.69739943564581897</cx:pt>
          <cx:pt idx="429">0.69739943564581897</cx:pt>
          <cx:pt idx="430">0.69739943564581897</cx:pt>
          <cx:pt idx="431">0.69739943564581897</cx:pt>
          <cx:pt idx="432">0.69739943564581897</cx:pt>
          <cx:pt idx="433">0.69739943564581897</cx:pt>
          <cx:pt idx="434">0.69739943564581897</cx:pt>
          <cx:pt idx="435">0.69739943564581897</cx:pt>
          <cx:pt idx="436">0.69739943564581897</cx:pt>
          <cx:pt idx="437">0.69739943564581897</cx:pt>
          <cx:pt idx="438">0.69739943564581897</cx:pt>
          <cx:pt idx="439">0.69739943564581897</cx:pt>
          <cx:pt idx="440">0.69739943564581897</cx:pt>
          <cx:pt idx="441">0.69739943564581897</cx:pt>
          <cx:pt idx="442">0.69739943564581897</cx:pt>
          <cx:pt idx="443">0.69739943564581897</cx:pt>
          <cx:pt idx="444">0.69739943564581897</cx:pt>
          <cx:pt idx="445">0.69739943564581897</cx:pt>
          <cx:pt idx="446">0.69739943564581897</cx:pt>
          <cx:pt idx="447">0.69739943564581897</cx:pt>
          <cx:pt idx="448">0.69739943564581897</cx:pt>
          <cx:pt idx="449">0.69739943564581897</cx:pt>
          <cx:pt idx="450">0.69739943564581897</cx:pt>
          <cx:pt idx="451">0.69739943564581897</cx:pt>
          <cx:pt idx="452">0.69739943564581897</cx:pt>
          <cx:pt idx="453">0.69739943564581897</cx:pt>
          <cx:pt idx="454">0.69739943564581897</cx:pt>
          <cx:pt idx="455">0.69739943564581897</cx:pt>
          <cx:pt idx="456">0.69739943564581897</cx:pt>
          <cx:pt idx="457">0.69739943564581897</cx:pt>
          <cx:pt idx="458">0.69739943564581897</cx:pt>
          <cx:pt idx="459">0.69739943564581897</cx:pt>
          <cx:pt idx="460">0.69739943564581897</cx:pt>
          <cx:pt idx="461">0.69739943564581897</cx:pt>
          <cx:pt idx="462">0.69739943564581897</cx:pt>
          <cx:pt idx="463">0.69739943564581897</cx:pt>
          <cx:pt idx="464">0.69739943564581897</cx:pt>
          <cx:pt idx="465">0.69739943564581897</cx:pt>
          <cx:pt idx="466">0.69739943564581897</cx:pt>
          <cx:pt idx="467">0.69739943564581897</cx:pt>
          <cx:pt idx="468">0.69739943564581897</cx:pt>
          <cx:pt idx="469">0.69739943564581897</cx:pt>
          <cx:pt idx="470">0.69739943564581897</cx:pt>
          <cx:pt idx="471">0.69739943564581897</cx:pt>
          <cx:pt idx="472">0.69739943564581897</cx:pt>
          <cx:pt idx="473">0.69739943564581897</cx:pt>
          <cx:pt idx="474">0.69739943564581897</cx:pt>
          <cx:pt idx="475">0.69739943564581897</cx:pt>
          <cx:pt idx="476">0.69739943564581897</cx:pt>
          <cx:pt idx="477">0.69739943564581897</cx:pt>
          <cx:pt idx="478">0.69739943564581897</cx:pt>
          <cx:pt idx="479">0.69739943564581897</cx:pt>
          <cx:pt idx="480">0.69739943564581897</cx:pt>
          <cx:pt idx="481">0.69739943564581897</cx:pt>
          <cx:pt idx="482">0.69739943564581897</cx:pt>
          <cx:pt idx="483">0.69739943564581897</cx:pt>
          <cx:pt idx="484">0.69739943564581897</cx:pt>
          <cx:pt idx="485">0.69739943564581897</cx:pt>
          <cx:pt idx="486">0.69739943564581897</cx:pt>
          <cx:pt idx="487">0.69739943564581897</cx:pt>
          <cx:pt idx="488">0.69739943564581897</cx:pt>
          <cx:pt idx="489">0.69739943564581897</cx:pt>
          <cx:pt idx="490">0.69739943564581897</cx:pt>
          <cx:pt idx="491">0.69739943564581897</cx:pt>
          <cx:pt idx="492">0.69739943564581897</cx:pt>
          <cx:pt idx="493">0.69739943564581897</cx:pt>
          <cx:pt idx="494">0.69739943564581897</cx:pt>
          <cx:pt idx="495">0.69739943564581897</cx:pt>
          <cx:pt idx="496">0.69739943564581897</cx:pt>
          <cx:pt idx="497">0.69739943564581897</cx:pt>
          <cx:pt idx="498">0.69739943564581897</cx:pt>
          <cx:pt idx="499">0.69739943564581897</cx:pt>
          <cx:pt idx="500">0.69739943564581897</cx:pt>
          <cx:pt idx="501">0.69739943564581897</cx:pt>
          <cx:pt idx="502">0.69739943564581897</cx:pt>
          <cx:pt idx="503">0.69739943564581897</cx:pt>
          <cx:pt idx="504">0.69739943564581897</cx:pt>
          <cx:pt idx="505">0.69739943564581897</cx:pt>
          <cx:pt idx="506">0.69739943564581897</cx:pt>
          <cx:pt idx="507">0.69739943564581897</cx:pt>
          <cx:pt idx="508">0.69739943564581897</cx:pt>
          <cx:pt idx="509">0.69739943564581897</cx:pt>
          <cx:pt idx="510">0.69739943564581897</cx:pt>
          <cx:pt idx="511">0.69739943564581897</cx:pt>
          <cx:pt idx="512">0.69739943564581897</cx:pt>
          <cx:pt idx="513">0.69739943564581897</cx:pt>
          <cx:pt idx="514">0.69739943564581897</cx:pt>
          <cx:pt idx="515">0.69739943564581897</cx:pt>
          <cx:pt idx="516">0.69739943564581897</cx:pt>
          <cx:pt idx="517">0.69739943564581897</cx:pt>
          <cx:pt idx="518">0.69739943564581897</cx:pt>
          <cx:pt idx="519">0.69739943564581897</cx:pt>
          <cx:pt idx="520">0.69739943564581897</cx:pt>
          <cx:pt idx="521">0.69739943564581897</cx:pt>
          <cx:pt idx="522">0.69739943564581897</cx:pt>
          <cx:pt idx="523">0.69739943564581897</cx:pt>
          <cx:pt idx="524">0.69739943564581897</cx:pt>
          <cx:pt idx="525">0.69739943564581897</cx:pt>
          <cx:pt idx="526">0.69739943564581897</cx:pt>
          <cx:pt idx="527">0.69739943564581897</cx:pt>
          <cx:pt idx="528">0.69739943564581897</cx:pt>
          <cx:pt idx="529">0.69739943564581897</cx:pt>
          <cx:pt idx="530">0.69739943564581897</cx:pt>
          <cx:pt idx="531">0.69739943564581897</cx:pt>
          <cx:pt idx="532">0.69739943564581897</cx:pt>
          <cx:pt idx="533">0.69739943564581897</cx:pt>
          <cx:pt idx="534">0.69739943564581897</cx:pt>
          <cx:pt idx="535">0.69739943564581897</cx:pt>
          <cx:pt idx="536">0.69739943564581897</cx:pt>
          <cx:pt idx="537">0.69739943564581897</cx:pt>
          <cx:pt idx="538">0.69739943564581897</cx:pt>
          <cx:pt idx="539">0.69739943564581897</cx:pt>
          <cx:pt idx="540">0.69739943564581897</cx:pt>
          <cx:pt idx="541">0.69739943564581897</cx:pt>
          <cx:pt idx="542">0.69739943564581897</cx:pt>
          <cx:pt idx="543">0.69739943564581897</cx:pt>
          <cx:pt idx="544">0.69739943564581897</cx:pt>
          <cx:pt idx="545">0.69739943564581897</cx:pt>
          <cx:pt idx="546">0.69739943564581897</cx:pt>
          <cx:pt idx="547">0.69739943564581897</cx:pt>
          <cx:pt idx="548">0.69739943564581897</cx:pt>
          <cx:pt idx="549">0.69739943564581897</cx:pt>
          <cx:pt idx="550">0.69739943564581897</cx:pt>
          <cx:pt idx="551">0.69739943564581897</cx:pt>
          <cx:pt idx="552">0.69739943564581897</cx:pt>
          <cx:pt idx="553">0.69739943564581897</cx:pt>
          <cx:pt idx="554">0.69739943564581897</cx:pt>
          <cx:pt idx="555">0.69739943564581897</cx:pt>
          <cx:pt idx="556">0.69739943564581897</cx:pt>
          <cx:pt idx="557">0.69739943564581897</cx:pt>
          <cx:pt idx="558">0.69739943564581897</cx:pt>
          <cx:pt idx="559">0.69739943564581897</cx:pt>
          <cx:pt idx="560">0.69739943564581897</cx:pt>
          <cx:pt idx="561">0.69739943564581897</cx:pt>
          <cx:pt idx="562">0.69739943564581897</cx:pt>
          <cx:pt idx="563">0.69739943564581897</cx:pt>
          <cx:pt idx="564">0.69739943564581897</cx:pt>
          <cx:pt idx="565">0.69739943564581897</cx:pt>
          <cx:pt idx="566">0.69739943564581897</cx:pt>
          <cx:pt idx="567">0.69739943564581897</cx:pt>
          <cx:pt idx="568">0.69739943564581897</cx:pt>
          <cx:pt idx="569">0.69739943564581897</cx:pt>
          <cx:pt idx="570">0.69739943564581897</cx:pt>
          <cx:pt idx="571">0.69739943564581897</cx:pt>
          <cx:pt idx="572">0.69739943564581897</cx:pt>
          <cx:pt idx="573">0.69739943564581897</cx:pt>
          <cx:pt idx="574">0.69739943564581897</cx:pt>
          <cx:pt idx="575">0.69739943564581897</cx:pt>
          <cx:pt idx="576">0.69739943564581897</cx:pt>
          <cx:pt idx="577">0.69739943564581897</cx:pt>
          <cx:pt idx="578">0.69739943564581897</cx:pt>
          <cx:pt idx="579">0.69739943564581897</cx:pt>
          <cx:pt idx="580">0.69739943564581897</cx:pt>
          <cx:pt idx="581">0.69739943564581897</cx:pt>
          <cx:pt idx="582">0.69739943564581897</cx:pt>
          <cx:pt idx="583">0.69739943564581897</cx:pt>
          <cx:pt idx="584">0.69739943564581897</cx:pt>
          <cx:pt idx="585">0.69739943564581897</cx:pt>
          <cx:pt idx="586">0.69739943564581897</cx:pt>
          <cx:pt idx="587">0.69739943564581897</cx:pt>
          <cx:pt idx="588">0.69739943564581897</cx:pt>
          <cx:pt idx="589">0.69739943564581897</cx:pt>
          <cx:pt idx="590">0.69739943564581897</cx:pt>
          <cx:pt idx="591">0.69739943564581897</cx:pt>
          <cx:pt idx="592">0.69739943564581897</cx:pt>
          <cx:pt idx="593">0.69739943564581897</cx:pt>
          <cx:pt idx="594">0.69739943564581897</cx:pt>
          <cx:pt idx="595">0.69739943564581897</cx:pt>
          <cx:pt idx="596">0.69739943564581897</cx:pt>
          <cx:pt idx="597">0.69739943564581897</cx:pt>
          <cx:pt idx="598">0.69739943564581897</cx:pt>
          <cx:pt idx="599">0.69739943564581897</cx:pt>
          <cx:pt idx="600">0.69739943564581897</cx:pt>
          <cx:pt idx="601">0.69739943564581897</cx:pt>
          <cx:pt idx="602">0.69739943564581897</cx:pt>
          <cx:pt idx="603">0.69739943564581897</cx:pt>
          <cx:pt idx="604">0.69739943564581897</cx:pt>
          <cx:pt idx="605">0.69739943564581897</cx:pt>
          <cx:pt idx="606">0.69739943564581897</cx:pt>
          <cx:pt idx="607">0.69739943564581897</cx:pt>
          <cx:pt idx="608">0.69739943564581897</cx:pt>
          <cx:pt idx="609">0.69739943564581897</cx:pt>
          <cx:pt idx="610">0.69739943564581897</cx:pt>
          <cx:pt idx="611">0.69739943564581897</cx:pt>
          <cx:pt idx="612">0.69739943564581897</cx:pt>
          <cx:pt idx="613">0.69739943564581897</cx:pt>
          <cx:pt idx="614">0.69739943564581897</cx:pt>
          <cx:pt idx="615">0.69739943564581897</cx:pt>
          <cx:pt idx="616">0.69739943564581897</cx:pt>
          <cx:pt idx="617">0.69739943564581897</cx:pt>
          <cx:pt idx="618">0.69739943564581897</cx:pt>
          <cx:pt idx="619">0.69739943564581897</cx:pt>
          <cx:pt idx="620">0.69739943564581897</cx:pt>
          <cx:pt idx="621">0.69739943564581897</cx:pt>
          <cx:pt idx="622">0.69739943564581897</cx:pt>
          <cx:pt idx="623">0.69739943564581897</cx:pt>
          <cx:pt idx="624">0.69739943564581897</cx:pt>
          <cx:pt idx="625">0.69739943564581897</cx:pt>
          <cx:pt idx="626">0.69739943564581897</cx:pt>
          <cx:pt idx="627">0.69739943564581897</cx:pt>
          <cx:pt idx="628">0.69739943564581897</cx:pt>
          <cx:pt idx="629">0.69739943564581897</cx:pt>
          <cx:pt idx="630">0.69739943564581897</cx:pt>
          <cx:pt idx="631">0.69739943564581897</cx:pt>
          <cx:pt idx="632">0.69739943564581897</cx:pt>
          <cx:pt idx="633">0.69739943564581897</cx:pt>
          <cx:pt idx="634">0.69739943564581897</cx:pt>
          <cx:pt idx="635">0.69739943564581897</cx:pt>
          <cx:pt idx="636">0.69739943564581897</cx:pt>
          <cx:pt idx="637">0.69739943564581897</cx:pt>
          <cx:pt idx="638">0.69739943564581897</cx:pt>
          <cx:pt idx="639">0.69739943564581897</cx:pt>
          <cx:pt idx="640">0.69739943564581897</cx:pt>
          <cx:pt idx="641">0.69739943564581897</cx:pt>
          <cx:pt idx="642">0.69739943564581897</cx:pt>
          <cx:pt idx="643">0.69739943564581897</cx:pt>
          <cx:pt idx="644">0.69739943564581897</cx:pt>
          <cx:pt idx="645">0.69739943564581897</cx:pt>
          <cx:pt idx="646">0.69739943564581897</cx:pt>
          <cx:pt idx="647">0.69739943564581897</cx:pt>
          <cx:pt idx="648">0.69739943564581897</cx:pt>
          <cx:pt idx="649">0.69739943564581897</cx:pt>
          <cx:pt idx="650">0.69739943564581897</cx:pt>
          <cx:pt idx="651">0.69739943564581897</cx:pt>
          <cx:pt idx="652">0.69739943564581897</cx:pt>
          <cx:pt idx="653">0.69739943564581897</cx:pt>
          <cx:pt idx="654">0.69739943564581897</cx:pt>
          <cx:pt idx="655">0.69739943564581897</cx:pt>
          <cx:pt idx="656">0.69739943564581897</cx:pt>
          <cx:pt idx="657">0.69739943564581897</cx:pt>
          <cx:pt idx="658">0.69739943564581897</cx:pt>
          <cx:pt idx="659">0.69739943564581897</cx:pt>
          <cx:pt idx="660">0.69739943564581897</cx:pt>
          <cx:pt idx="661">0.69739943564581897</cx:pt>
          <cx:pt idx="662">0.69739943564581897</cx:pt>
          <cx:pt idx="663">0.69739943564581897</cx:pt>
          <cx:pt idx="664">0.69739943564581897</cx:pt>
          <cx:pt idx="665">0.69739943564581897</cx:pt>
          <cx:pt idx="666">0.69739943564581897</cx:pt>
          <cx:pt idx="667">0.69739943564581897</cx:pt>
          <cx:pt idx="668">0.69739943564581897</cx:pt>
          <cx:pt idx="669">0.69739943564581897</cx:pt>
          <cx:pt idx="670">0.69739943564581897</cx:pt>
          <cx:pt idx="671">0.69739943564581897</cx:pt>
          <cx:pt idx="672">0.69739943564581897</cx:pt>
          <cx:pt idx="673">0.69739943564581897</cx:pt>
          <cx:pt idx="674">0.69739943564581897</cx:pt>
          <cx:pt idx="675">0.69739943564581897</cx:pt>
          <cx:pt idx="676">0.69739943564581897</cx:pt>
          <cx:pt idx="677">0.69739943564581897</cx:pt>
          <cx:pt idx="678">0.69739943564581897</cx:pt>
          <cx:pt idx="679">0.69739943564581897</cx:pt>
          <cx:pt idx="680">0.69739943564581897</cx:pt>
          <cx:pt idx="681">0.69739943564581897</cx:pt>
          <cx:pt idx="682">0.69739943564581897</cx:pt>
          <cx:pt idx="683">0.69739943564581897</cx:pt>
          <cx:pt idx="684">0.69739943564581897</cx:pt>
          <cx:pt idx="685">0.69739943564581897</cx:pt>
          <cx:pt idx="686">0.69739943564581897</cx:pt>
          <cx:pt idx="687">0.69739943564581897</cx:pt>
          <cx:pt idx="688">0.69739943564581897</cx:pt>
          <cx:pt idx="689">0.69739943564581897</cx:pt>
          <cx:pt idx="690">0.69739943564581897</cx:pt>
          <cx:pt idx="691">0.69739943564581897</cx:pt>
          <cx:pt idx="692">0.69739943564581897</cx:pt>
          <cx:pt idx="693">0.69739943564581897</cx:pt>
          <cx:pt idx="694">0.69739943564581897</cx:pt>
          <cx:pt idx="695">0.69739943564581897</cx:pt>
          <cx:pt idx="696">0.69739943564581897</cx:pt>
          <cx:pt idx="697">0.69739943564581897</cx:pt>
          <cx:pt idx="698">0.69739943564581897</cx:pt>
          <cx:pt idx="699">0.69739943564581897</cx:pt>
          <cx:pt idx="700">0.69739943564581897</cx:pt>
          <cx:pt idx="701">0.69739943564581897</cx:pt>
          <cx:pt idx="702">0.69739943564581897</cx:pt>
          <cx:pt idx="703">0.69739943564581897</cx:pt>
          <cx:pt idx="704">0.69739943564581897</cx:pt>
          <cx:pt idx="705">0.69739943564581897</cx:pt>
          <cx:pt idx="706">0.69739943564581897</cx:pt>
          <cx:pt idx="707">0.69739943564581897</cx:pt>
          <cx:pt idx="708">0.69739943564581897</cx:pt>
          <cx:pt idx="709">0.69739943564581897</cx:pt>
          <cx:pt idx="710">0.69739943564581897</cx:pt>
          <cx:pt idx="711">0.69739943564581897</cx:pt>
          <cx:pt idx="712">0.69739943564581897</cx:pt>
          <cx:pt idx="713">0.69739943564581897</cx:pt>
          <cx:pt idx="714">0.69739943564581897</cx:pt>
          <cx:pt idx="715">0.69739943564581897</cx:pt>
          <cx:pt idx="716">0.69739943564581897</cx:pt>
          <cx:pt idx="717">0.69739943564581897</cx:pt>
          <cx:pt idx="718">0.69739943564581897</cx:pt>
          <cx:pt idx="719">0.69739943564581897</cx:pt>
          <cx:pt idx="720">0.69739943564581897</cx:pt>
          <cx:pt idx="721">0.69739943564581897</cx:pt>
          <cx:pt idx="722">0.69739943564581897</cx:pt>
          <cx:pt idx="723">0.69739943564581897</cx:pt>
          <cx:pt idx="724">0.69739943564581897</cx:pt>
          <cx:pt idx="725">0.69739943564581897</cx:pt>
          <cx:pt idx="726">0.69739943564581897</cx:pt>
          <cx:pt idx="727">0.69739943564581897</cx:pt>
          <cx:pt idx="728">0.69739943564581897</cx:pt>
          <cx:pt idx="729">0.69739943564581897</cx:pt>
          <cx:pt idx="730">0.69739943564581897</cx:pt>
          <cx:pt idx="731">0.69739943564581897</cx:pt>
          <cx:pt idx="732">0.69739943564581897</cx:pt>
          <cx:pt idx="733">0.69739943564581897</cx:pt>
          <cx:pt idx="734">0.69739943564581897</cx:pt>
          <cx:pt idx="735">0.69739943564581897</cx:pt>
          <cx:pt idx="736">0.69739943564581897</cx:pt>
          <cx:pt idx="737">0.69739943564581897</cx:pt>
          <cx:pt idx="738">0.69739943564581897</cx:pt>
          <cx:pt idx="739">0.69739943564581897</cx:pt>
          <cx:pt idx="740">0.69739943564581897</cx:pt>
          <cx:pt idx="741">0.69739943564581897</cx:pt>
          <cx:pt idx="742">0.69739943564581897</cx:pt>
          <cx:pt idx="743">0.69739943564581897</cx:pt>
          <cx:pt idx="744">0.69739943564581897</cx:pt>
          <cx:pt idx="745">0.69739943564581897</cx:pt>
          <cx:pt idx="746">0.69739943564581897</cx:pt>
          <cx:pt idx="747">0.69739943564581897</cx:pt>
          <cx:pt idx="748">0.69739943564581897</cx:pt>
          <cx:pt idx="749">0.69739943564581897</cx:pt>
          <cx:pt idx="750">0.69739943564581897</cx:pt>
          <cx:pt idx="751">0.69739943564581897</cx:pt>
          <cx:pt idx="752">0.69739943564581897</cx:pt>
          <cx:pt idx="753">0.69739943564581897</cx:pt>
          <cx:pt idx="754">0.69739943564581897</cx:pt>
          <cx:pt idx="755">0.69739943564581897</cx:pt>
          <cx:pt idx="756">0.69739943564581897</cx:pt>
          <cx:pt idx="757">0.69739943564581897</cx:pt>
          <cx:pt idx="758">0.69739943564581897</cx:pt>
          <cx:pt idx="759">0.69739943564581897</cx:pt>
          <cx:pt idx="760">0.69739943564581897</cx:pt>
          <cx:pt idx="761">0.69739943564581897</cx:pt>
          <cx:pt idx="762">0.69739943564581897</cx:pt>
          <cx:pt idx="763">0.69739943564581897</cx:pt>
          <cx:pt idx="764">0.69739943564581897</cx:pt>
          <cx:pt idx="765">0.69739943564581897</cx:pt>
          <cx:pt idx="766">0.69739943564581897</cx:pt>
          <cx:pt idx="767">0.69739943564581897</cx:pt>
          <cx:pt idx="768">0.69739943564581897</cx:pt>
          <cx:pt idx="769">0.69739943564581897</cx:pt>
          <cx:pt idx="770">0.69739943564581897</cx:pt>
          <cx:pt idx="771">0.69739943564581897</cx:pt>
          <cx:pt idx="772">0.69739943564581897</cx:pt>
          <cx:pt idx="773">0.69739943564581897</cx:pt>
          <cx:pt idx="774">0.69739943564581897</cx:pt>
          <cx:pt idx="775">0.69739943564581897</cx:pt>
          <cx:pt idx="776">0.69739943564581897</cx:pt>
          <cx:pt idx="777">0.69739943564581897</cx:pt>
          <cx:pt idx="778">0.69739943564581897</cx:pt>
          <cx:pt idx="779">0.69739943564581897</cx:pt>
          <cx:pt idx="780">0.69739943564581897</cx:pt>
          <cx:pt idx="781">0.69739943564581897</cx:pt>
          <cx:pt idx="782">0.69739943564581897</cx:pt>
          <cx:pt idx="783">0.69739943564581897</cx:pt>
          <cx:pt idx="784">0.69739943564581897</cx:pt>
          <cx:pt idx="785">0.69739943564581897</cx:pt>
          <cx:pt idx="786">0.69739943564581897</cx:pt>
          <cx:pt idx="787">0.69739943564581897</cx:pt>
          <cx:pt idx="788">0.69739943564581897</cx:pt>
          <cx:pt idx="789">0.69739943564581897</cx:pt>
          <cx:pt idx="790">0.69739943564581897</cx:pt>
          <cx:pt idx="791">0.69739943564581897</cx:pt>
          <cx:pt idx="792">0.69739943564581897</cx:pt>
          <cx:pt idx="793">0.69739943564581897</cx:pt>
          <cx:pt idx="794">0.69739943564581897</cx:pt>
          <cx:pt idx="795">0.69739943564581897</cx:pt>
          <cx:pt idx="796">0.69739943564581897</cx:pt>
          <cx:pt idx="797">0.69739943564581897</cx:pt>
          <cx:pt idx="798">0.69739943564581897</cx:pt>
          <cx:pt idx="799">0.69739943564581897</cx:pt>
          <cx:pt idx="800">0.69739943564581897</cx:pt>
          <cx:pt idx="801">0.69739943564581897</cx:pt>
          <cx:pt idx="802">0.69739943564581897</cx:pt>
          <cx:pt idx="803">0.69739943564581897</cx:pt>
          <cx:pt idx="804">0.69739943564581897</cx:pt>
          <cx:pt idx="805">0.69739943564581897</cx:pt>
          <cx:pt idx="806">0.69739943564581897</cx:pt>
          <cx:pt idx="807">0.69739943564581897</cx:pt>
          <cx:pt idx="808">0.69739943564581897</cx:pt>
          <cx:pt idx="809">0.69739943564581897</cx:pt>
          <cx:pt idx="810">0.69739943564581897</cx:pt>
          <cx:pt idx="811">0.69739943564581897</cx:pt>
          <cx:pt idx="812">0.69739943564581897</cx:pt>
          <cx:pt idx="813">0.69739943564581897</cx:pt>
          <cx:pt idx="814">0.69739943564581897</cx:pt>
          <cx:pt idx="815">0.69739943564581897</cx:pt>
          <cx:pt idx="816">0.69739943564581897</cx:pt>
          <cx:pt idx="817">0.69739943564581897</cx:pt>
          <cx:pt idx="818">0.69739943564581897</cx:pt>
          <cx:pt idx="819">0.69739943564581897</cx:pt>
          <cx:pt idx="820">0.69739943564581897</cx:pt>
          <cx:pt idx="821">0.69739943564581897</cx:pt>
          <cx:pt idx="822">0.69739943564581897</cx:pt>
          <cx:pt idx="823">0.69739943564581897</cx:pt>
          <cx:pt idx="824">0.69739943564581897</cx:pt>
          <cx:pt idx="825">0.69739943564581897</cx:pt>
          <cx:pt idx="826">0.69739943564581897</cx:pt>
          <cx:pt idx="827">0.69739943564581897</cx:pt>
          <cx:pt idx="828">0.69739943564581897</cx:pt>
          <cx:pt idx="829">0.69739943564581897</cx:pt>
          <cx:pt idx="830">0.69739943564581897</cx:pt>
          <cx:pt idx="831">0.69739943564581897</cx:pt>
          <cx:pt idx="832">0.69739943564581897</cx:pt>
          <cx:pt idx="833">0.69739943564581897</cx:pt>
          <cx:pt idx="834">0.69739943564581897</cx:pt>
          <cx:pt idx="835">0.69739943564581897</cx:pt>
          <cx:pt idx="836">0.69739943564581897</cx:pt>
          <cx:pt idx="837">0.69739943564581897</cx:pt>
          <cx:pt idx="838">0.69739943564581897</cx:pt>
          <cx:pt idx="839">0.69739943564581897</cx:pt>
          <cx:pt idx="840">0.69739943564581897</cx:pt>
          <cx:pt idx="841">0.69739943564581897</cx:pt>
          <cx:pt idx="842">0.69739943564581897</cx:pt>
          <cx:pt idx="843">0.69739943564581897</cx:pt>
          <cx:pt idx="844">0.69739943564581897</cx:pt>
          <cx:pt idx="845">0.69739943564581897</cx:pt>
          <cx:pt idx="846">0.69739943564581897</cx:pt>
          <cx:pt idx="847">0.69739943564581897</cx:pt>
          <cx:pt idx="848">0.69739943564581897</cx:pt>
          <cx:pt idx="849">0.69739943564581897</cx:pt>
          <cx:pt idx="850">0.69739943564581897</cx:pt>
          <cx:pt idx="851">0.69739943564581897</cx:pt>
          <cx:pt idx="852">0.69739943564581897</cx:pt>
          <cx:pt idx="853">0.69739943564581897</cx:pt>
          <cx:pt idx="854">0.69739943564581897</cx:pt>
          <cx:pt idx="855">0.69739943564581897</cx:pt>
          <cx:pt idx="856">0.69739943564581897</cx:pt>
          <cx:pt idx="857">0.69739943564581897</cx:pt>
          <cx:pt idx="858">0.69739943564581897</cx:pt>
          <cx:pt idx="859">0.69739943564581897</cx:pt>
          <cx:pt idx="860">0.69739943564581897</cx:pt>
          <cx:pt idx="861">0.69739943564581897</cx:pt>
          <cx:pt idx="862">0.69739943564581897</cx:pt>
          <cx:pt idx="863">0.69739943564581897</cx:pt>
          <cx:pt idx="864">0.69739943564581897</cx:pt>
          <cx:pt idx="865">0.69739943564581897</cx:pt>
          <cx:pt idx="866">0.69739943564581897</cx:pt>
          <cx:pt idx="867">0.69739943564581897</cx:pt>
          <cx:pt idx="868">0.69739943564581897</cx:pt>
          <cx:pt idx="869">0.69739943564581897</cx:pt>
          <cx:pt idx="870">0.69739943564581897</cx:pt>
          <cx:pt idx="871">0.69739943564581897</cx:pt>
          <cx:pt idx="872">0.69739943564581897</cx:pt>
          <cx:pt idx="873">0.69739943564581897</cx:pt>
          <cx:pt idx="874">0.69739943564581897</cx:pt>
          <cx:pt idx="875">0.69739943564581897</cx:pt>
          <cx:pt idx="876">0.69739943564581897</cx:pt>
          <cx:pt idx="877">0.69739943564581897</cx:pt>
          <cx:pt idx="878">0.69739943564581897</cx:pt>
          <cx:pt idx="879">0.69739943564581897</cx:pt>
          <cx:pt idx="880">0.69739943564581897</cx:pt>
          <cx:pt idx="881">0.69739943564581897</cx:pt>
          <cx:pt idx="882">0.69739943564581897</cx:pt>
          <cx:pt idx="883">0.69739943564581897</cx:pt>
          <cx:pt idx="884">0.69739943564581897</cx:pt>
          <cx:pt idx="885">0.69739943564581897</cx:pt>
          <cx:pt idx="886">0.69739943564581897</cx:pt>
          <cx:pt idx="887">0.69739943564581897</cx:pt>
          <cx:pt idx="888">0.69739943564581897</cx:pt>
          <cx:pt idx="889">0.69739943564581897</cx:pt>
          <cx:pt idx="890">0.69739943564581897</cx:pt>
          <cx:pt idx="891">0.69739943564581897</cx:pt>
          <cx:pt idx="892">0.69739943564581897</cx:pt>
          <cx:pt idx="893">0.69739943564581897</cx:pt>
          <cx:pt idx="894">0.69739943564581897</cx:pt>
          <cx:pt idx="895">0.69739943564581897</cx:pt>
          <cx:pt idx="896">0.69739943564581897</cx:pt>
          <cx:pt idx="897">0.69739943564581897</cx:pt>
          <cx:pt idx="898">0.69739943564581897</cx:pt>
          <cx:pt idx="899">0.69739943564581897</cx:pt>
          <cx:pt idx="900">0.69739943564581897</cx:pt>
          <cx:pt idx="901">0.69739943564581897</cx:pt>
          <cx:pt idx="902">0.69739943564581897</cx:pt>
          <cx:pt idx="903">0.69739943564581897</cx:pt>
          <cx:pt idx="904">0.69739943564581897</cx:pt>
          <cx:pt idx="905">0.69739943564581897</cx:pt>
          <cx:pt idx="906">0.69739943564581897</cx:pt>
          <cx:pt idx="907">0.69739943564581897</cx:pt>
          <cx:pt idx="908">0.69739943564581897</cx:pt>
          <cx:pt idx="909">0.69739943564581897</cx:pt>
          <cx:pt idx="910">0.69739943564581897</cx:pt>
          <cx:pt idx="911">0.69739943564581897</cx:pt>
          <cx:pt idx="912">0.69739943564581897</cx:pt>
          <cx:pt idx="913">0.69739943564581897</cx:pt>
          <cx:pt idx="914">0.69739943564581897</cx:pt>
          <cx:pt idx="915">0.69739943564581897</cx:pt>
          <cx:pt idx="916">0.69739943564581897</cx:pt>
          <cx:pt idx="917">0.69739943564581897</cx:pt>
          <cx:pt idx="918">0.69739943564581897</cx:pt>
          <cx:pt idx="919">0.69739943564581897</cx:pt>
          <cx:pt idx="920">0.69739943564581897</cx:pt>
          <cx:pt idx="921">0.69739943564581897</cx:pt>
          <cx:pt idx="922">0.69739943564581897</cx:pt>
          <cx:pt idx="923">0.69739943564581897</cx:pt>
          <cx:pt idx="924">0.69739943564581897</cx:pt>
          <cx:pt idx="925">0.69739943564581897</cx:pt>
          <cx:pt idx="926">0.69739943564581897</cx:pt>
          <cx:pt idx="927">0.69739943564581897</cx:pt>
          <cx:pt idx="928">0.69739943564581897</cx:pt>
          <cx:pt idx="929">0.69739943564581897</cx:pt>
          <cx:pt idx="930">0.69739943564581897</cx:pt>
          <cx:pt idx="931">0.69739943564581897</cx:pt>
          <cx:pt idx="932">0.69739943564581897</cx:pt>
          <cx:pt idx="933">0.69739943564581897</cx:pt>
          <cx:pt idx="934">0.69739943564581897</cx:pt>
          <cx:pt idx="935">0.69739943564581897</cx:pt>
          <cx:pt idx="936">0.69739943564581897</cx:pt>
          <cx:pt idx="937">0.69739943564581897</cx:pt>
          <cx:pt idx="938">0.69739943564581897</cx:pt>
          <cx:pt idx="939">0.69739943564581897</cx:pt>
          <cx:pt idx="940">0.69739943564581897</cx:pt>
          <cx:pt idx="941">0.69739943564581897</cx:pt>
          <cx:pt idx="942">0.69739943564581897</cx:pt>
          <cx:pt idx="943">0.69739943564581897</cx:pt>
          <cx:pt idx="944">0.69739943564581897</cx:pt>
          <cx:pt idx="945">0.69739943564581897</cx:pt>
          <cx:pt idx="946">0.69739943564581897</cx:pt>
          <cx:pt idx="947">0.69739943564581897</cx:pt>
          <cx:pt idx="948">0.69739943564581897</cx:pt>
          <cx:pt idx="949">0.69739943564581897</cx:pt>
          <cx:pt idx="950">0.69739943564581897</cx:pt>
          <cx:pt idx="951">0.69739943564581897</cx:pt>
          <cx:pt idx="952">0.69739943564581897</cx:pt>
          <cx:pt idx="953">0.69739943564581897</cx:pt>
          <cx:pt idx="954">0.69739943564581897</cx:pt>
          <cx:pt idx="955">0.69739943564581897</cx:pt>
          <cx:pt idx="956">0.69739943564581897</cx:pt>
          <cx:pt idx="957">0.69739943564581897</cx:pt>
          <cx:pt idx="958">0.69739943564581897</cx:pt>
          <cx:pt idx="959">0.69739943564581897</cx:pt>
          <cx:pt idx="960">0.69739943564581897</cx:pt>
          <cx:pt idx="961">0.69739943564581897</cx:pt>
          <cx:pt idx="962">0.69739943564581897</cx:pt>
          <cx:pt idx="963">0.69739943564581897</cx:pt>
          <cx:pt idx="964">0.69739943564581897</cx:pt>
          <cx:pt idx="965">0.69739943564581897</cx:pt>
          <cx:pt idx="966">0.69739943564581897</cx:pt>
          <cx:pt idx="967">0.69739943564581897</cx:pt>
          <cx:pt idx="968">0.69739943564581897</cx:pt>
          <cx:pt idx="969">0.69739943564581897</cx:pt>
          <cx:pt idx="970">0.69739943564581897</cx:pt>
          <cx:pt idx="971">0.69739943564581897</cx:pt>
          <cx:pt idx="972">0.69739943564581897</cx:pt>
          <cx:pt idx="973">0.69739943564581897</cx:pt>
          <cx:pt idx="974">0.69739943564581897</cx:pt>
          <cx:pt idx="975">0.69739943564581897</cx:pt>
          <cx:pt idx="976">0.69739943564581897</cx:pt>
          <cx:pt idx="977">0.69739943564581897</cx:pt>
          <cx:pt idx="978">0.69739943564581897</cx:pt>
          <cx:pt idx="979">0.69739943564581897</cx:pt>
          <cx:pt idx="980">0.69739943564581897</cx:pt>
          <cx:pt idx="981">0.69739943564581897</cx:pt>
          <cx:pt idx="982">0.69739943564581897</cx:pt>
          <cx:pt idx="983">0.69739943564581897</cx:pt>
          <cx:pt idx="984">0.69739943564581897</cx:pt>
          <cx:pt idx="985">0.69739943564581897</cx:pt>
          <cx:pt idx="986">0.69739943564581897</cx:pt>
          <cx:pt idx="987">0.69739943564581897</cx:pt>
          <cx:pt idx="988">0.69739943564581897</cx:pt>
          <cx:pt idx="989">0.69739943564581897</cx:pt>
          <cx:pt idx="990">0.69739943564581897</cx:pt>
          <cx:pt idx="991">0.69739943564581897</cx:pt>
          <cx:pt idx="992">0.69739943564581897</cx:pt>
          <cx:pt idx="993">0.69739943564581897</cx:pt>
          <cx:pt idx="994">0.69739943564581897</cx:pt>
          <cx:pt idx="995">0.69739943564581897</cx:pt>
          <cx:pt idx="996">0.69739943564581897</cx:pt>
          <cx:pt idx="997">0.69739943564581897</cx:pt>
          <cx:pt idx="998">0.69739943564581897</cx:pt>
          <cx:pt idx="999">0.69739943564581897</cx:pt>
          <cx:pt idx="1000">0.69739943564581897</cx:pt>
          <cx:pt idx="1001">0.69739943564581897</cx:pt>
          <cx:pt idx="1002">0.69739943564581897</cx:pt>
          <cx:pt idx="1003">0.69739943564581897</cx:pt>
          <cx:pt idx="1004">0.69739943564581897</cx:pt>
          <cx:pt idx="1005">0.69739943564581897</cx:pt>
          <cx:pt idx="1006">0.69739943564581897</cx:pt>
          <cx:pt idx="1007">0.69739943564581897</cx:pt>
          <cx:pt idx="1008">0.69739943564581897</cx:pt>
          <cx:pt idx="1009">0.69739943564581897</cx:pt>
          <cx:pt idx="1010">0.69739943564581897</cx:pt>
          <cx:pt idx="1011">0.69739943564581897</cx:pt>
          <cx:pt idx="1012">0.69739943564581897</cx:pt>
          <cx:pt idx="1013">0.69739943564581897</cx:pt>
          <cx:pt idx="1014">0.69739943564581897</cx:pt>
          <cx:pt idx="1015">0.69739943564581897</cx:pt>
          <cx:pt idx="1016">0.69739943564581897</cx:pt>
          <cx:pt idx="1017">0.69739943564581897</cx:pt>
          <cx:pt idx="1018">0.69739943564581897</cx:pt>
          <cx:pt idx="1019">0.69739943564581897</cx:pt>
          <cx:pt idx="1020">0.69739943564581897</cx:pt>
          <cx:pt idx="1021">0.69739943564581897</cx:pt>
          <cx:pt idx="1022">0.69739943564581897</cx:pt>
          <cx:pt idx="1023">0.69739943564581897</cx:pt>
          <cx:pt idx="1024">0.69739943564581897</cx:pt>
          <cx:pt idx="1025">0.69739943564581897</cx:pt>
          <cx:pt idx="1026">0.69739943564581897</cx:pt>
          <cx:pt idx="1027">0.69739943564581897</cx:pt>
          <cx:pt idx="1028">0.69739943564581897</cx:pt>
          <cx:pt idx="1029">0.69739943564581897</cx:pt>
          <cx:pt idx="1030">0.69739943564581897</cx:pt>
          <cx:pt idx="1031">0.69739943564581897</cx:pt>
          <cx:pt idx="1032">0.69739943564581897</cx:pt>
          <cx:pt idx="1033">0.69739943564581897</cx:pt>
          <cx:pt idx="1034">0.69739943564581897</cx:pt>
          <cx:pt idx="1035">0.69739943564581897</cx:pt>
          <cx:pt idx="1036">0.69739943564581897</cx:pt>
          <cx:pt idx="1037">0.69739943564581897</cx:pt>
          <cx:pt idx="1038">0.69739943564581897</cx:pt>
          <cx:pt idx="1039">0.69739943564581897</cx:pt>
          <cx:pt idx="1040">0.69739943564581897</cx:pt>
          <cx:pt idx="1041">0.69739943564581897</cx:pt>
          <cx:pt idx="1042">0.69739943564581897</cx:pt>
          <cx:pt idx="1043">0.69739943564581897</cx:pt>
          <cx:pt idx="1044">0.69739943564581897</cx:pt>
          <cx:pt idx="1045">0.69739943564581897</cx:pt>
          <cx:pt idx="1046">0.69739943564581897</cx:pt>
          <cx:pt idx="1047">0.69739943564581897</cx:pt>
          <cx:pt idx="1048">0.69739943564581897</cx:pt>
          <cx:pt idx="1049">0.69739943564581897</cx:pt>
          <cx:pt idx="1050">0.69739943564581897</cx:pt>
          <cx:pt idx="1051">0.69739943564581897</cx:pt>
          <cx:pt idx="1052">0.69739943564581897</cx:pt>
          <cx:pt idx="1053">0.69739943564581897</cx:pt>
          <cx:pt idx="1054">0.69739943564581897</cx:pt>
          <cx:pt idx="1055">0.69739943564581897</cx:pt>
          <cx:pt idx="1056">0.69739943564581897</cx:pt>
          <cx:pt idx="1057">0.69739943564581897</cx:pt>
          <cx:pt idx="1058">0.69739943564581897</cx:pt>
          <cx:pt idx="1059">0.69739943564581897</cx:pt>
          <cx:pt idx="1060">0.69739943564581897</cx:pt>
          <cx:pt idx="1061">0.69739943564581897</cx:pt>
          <cx:pt idx="1062">0.69739943564581897</cx:pt>
          <cx:pt idx="1063">0.69739943564581897</cx:pt>
          <cx:pt idx="1064">0.69739943564581897</cx:pt>
          <cx:pt idx="1065">0.69739943564581897</cx:pt>
          <cx:pt idx="1066">0.69739943564581897</cx:pt>
          <cx:pt idx="1067">0.69739943564581897</cx:pt>
          <cx:pt idx="1068">0.69739943564581897</cx:pt>
          <cx:pt idx="1069">0.69739943564581897</cx:pt>
          <cx:pt idx="1070">0.69739943564581897</cx:pt>
          <cx:pt idx="1071">0.69739943564581897</cx:pt>
          <cx:pt idx="1072">0.69739943564581897</cx:pt>
          <cx:pt idx="1073">0.69739943564581897</cx:pt>
          <cx:pt idx="1074">0.69739943564581897</cx:pt>
          <cx:pt idx="1075">0.69739943564581897</cx:pt>
          <cx:pt idx="1076">0.69739943564581897</cx:pt>
          <cx:pt idx="1077">0.69739943564581897</cx:pt>
          <cx:pt idx="1078">0.69739943564581897</cx:pt>
          <cx:pt idx="1079">0.69739943564581897</cx:pt>
          <cx:pt idx="1080">0.69739943564581897</cx:pt>
          <cx:pt idx="1081">0.69739943564581897</cx:pt>
          <cx:pt idx="1082">0.69739943564581897</cx:pt>
          <cx:pt idx="1083">0.69739943564581897</cx:pt>
          <cx:pt idx="1084">0.69739943564581897</cx:pt>
          <cx:pt idx="1085">0.69739943564581897</cx:pt>
          <cx:pt idx="1086">0.69739943564581897</cx:pt>
          <cx:pt idx="1087">0.69739943564581897</cx:pt>
          <cx:pt idx="1088">0.69739943564581897</cx:pt>
          <cx:pt idx="1089">0.69739943564581897</cx:pt>
          <cx:pt idx="1090">0.69739943564581897</cx:pt>
          <cx:pt idx="1091">0.69739943564581897</cx:pt>
          <cx:pt idx="1092">0.69739943564581897</cx:pt>
          <cx:pt idx="1093">0.69739943564581897</cx:pt>
          <cx:pt idx="1094">0.69739943564581897</cx:pt>
          <cx:pt idx="1095">0.69739943564581897</cx:pt>
          <cx:pt idx="1096">0.69739943564581897</cx:pt>
          <cx:pt idx="1097">0.69739943564581897</cx:pt>
          <cx:pt idx="1098">0.69739943564581897</cx:pt>
          <cx:pt idx="1099">0.69739943564581897</cx:pt>
          <cx:pt idx="1100">0.69739943564581897</cx:pt>
          <cx:pt idx="1101">0.69739943564581897</cx:pt>
          <cx:pt idx="1102">0.69739943564581897</cx:pt>
          <cx:pt idx="1103">0.69739943564581897</cx:pt>
          <cx:pt idx="1104">0.69739943564581897</cx:pt>
          <cx:pt idx="1105">0.69739943564581897</cx:pt>
          <cx:pt idx="1106">0.69739943564581897</cx:pt>
          <cx:pt idx="1107">0.69739943564581897</cx:pt>
          <cx:pt idx="1108">0.69739943564581897</cx:pt>
          <cx:pt idx="1109">0.69739943564581897</cx:pt>
          <cx:pt idx="1110">0.69739943564581897</cx:pt>
          <cx:pt idx="1111">0.69739943564581897</cx:pt>
          <cx:pt idx="1112">0.69739943564581897</cx:pt>
          <cx:pt idx="1113">0.69739943564581897</cx:pt>
          <cx:pt idx="1114">0.69739943564581897</cx:pt>
          <cx:pt idx="1115">0.69739943564581897</cx:pt>
          <cx:pt idx="1116">0.69739943564581897</cx:pt>
          <cx:pt idx="1117">0.69739943564581897</cx:pt>
          <cx:pt idx="1118">0.69739943564581897</cx:pt>
          <cx:pt idx="1119">0.69739943564581897</cx:pt>
          <cx:pt idx="1120">0.69739943564581897</cx:pt>
          <cx:pt idx="1121">0.69739943564581897</cx:pt>
          <cx:pt idx="1122">0.69739943564581897</cx:pt>
          <cx:pt idx="1123">0.69739943564581897</cx:pt>
          <cx:pt idx="1124">0.69739943564581897</cx:pt>
          <cx:pt idx="1125">0.69739943564581897</cx:pt>
          <cx:pt idx="1126">0.69739943564581897</cx:pt>
          <cx:pt idx="1127">0.69739943564581897</cx:pt>
          <cx:pt idx="1128">0.69739943564581897</cx:pt>
          <cx:pt idx="1129">0.69739943564581897</cx:pt>
          <cx:pt idx="1130">0.69739943564581897</cx:pt>
          <cx:pt idx="1131">0.69739943564581897</cx:pt>
          <cx:pt idx="1132">0.69739943564581897</cx:pt>
          <cx:pt idx="1133">0.69739943564581897</cx:pt>
          <cx:pt idx="1134">0.69739943564581897</cx:pt>
          <cx:pt idx="1135">0.69739943564581897</cx:pt>
          <cx:pt idx="1136">0.69739943564581897</cx:pt>
          <cx:pt idx="1137">0.69739943564581897</cx:pt>
          <cx:pt idx="1138">0.69739943564581897</cx:pt>
          <cx:pt idx="1139">0.69739943564581897</cx:pt>
          <cx:pt idx="1140">0.69739943564581897</cx:pt>
          <cx:pt idx="1141">0.69739943564581897</cx:pt>
          <cx:pt idx="1142">0.69739943564581897</cx:pt>
          <cx:pt idx="1143">0.69739943564581897</cx:pt>
          <cx:pt idx="1144">0.69739943564581897</cx:pt>
          <cx:pt idx="1145">0.69739943564581897</cx:pt>
          <cx:pt idx="1146">0.69739943564581897</cx:pt>
          <cx:pt idx="1147">0.69739943564581897</cx:pt>
          <cx:pt idx="1148">0.69739943564581897</cx:pt>
          <cx:pt idx="1149">0.69739943564581897</cx:pt>
          <cx:pt idx="1150">0.69739943564581897</cx:pt>
          <cx:pt idx="1151">0.69739943564581897</cx:pt>
          <cx:pt idx="1152">0.69739943564581897</cx:pt>
          <cx:pt idx="1153">0.69739943564581897</cx:pt>
          <cx:pt idx="1154">0.69739943564581897</cx:pt>
          <cx:pt idx="1155">0.69739943564581897</cx:pt>
          <cx:pt idx="1156">0.69739943564581897</cx:pt>
          <cx:pt idx="1157">0.69739943564581897</cx:pt>
          <cx:pt idx="1158">0.69739943564581897</cx:pt>
          <cx:pt idx="1159">0.69739943564581897</cx:pt>
          <cx:pt idx="1160">0.69739943564581897</cx:pt>
          <cx:pt idx="1161">0.69739943564581897</cx:pt>
          <cx:pt idx="1162">0.69739943564581897</cx:pt>
          <cx:pt idx="1163">0.69739943564581897</cx:pt>
          <cx:pt idx="1164">0.69739943564581897</cx:pt>
          <cx:pt idx="1165">0.69739943564581897</cx:pt>
          <cx:pt idx="1166">0.69739943564581897</cx:pt>
          <cx:pt idx="1167">0.69739943564581897</cx:pt>
          <cx:pt idx="1168">0.69739943564581897</cx:pt>
          <cx:pt idx="1169">0.69739943564581897</cx:pt>
          <cx:pt idx="1170">0.69739943564581897</cx:pt>
          <cx:pt idx="1171">0.69739943564581897</cx:pt>
          <cx:pt idx="1172">0.69739943564581897</cx:pt>
          <cx:pt idx="1173">0.69739943564581897</cx:pt>
          <cx:pt idx="1174">0.69739943564581897</cx:pt>
          <cx:pt idx="1175">0.69739943564581897</cx:pt>
          <cx:pt idx="1176">0.69739943564581897</cx:pt>
          <cx:pt idx="1177">0.69739943564581897</cx:pt>
          <cx:pt idx="1178">0.69739943564581897</cx:pt>
          <cx:pt idx="1179">0.69739943564581897</cx:pt>
          <cx:pt idx="1180">0.69739943564581897</cx:pt>
          <cx:pt idx="1181">0.69739943564581897</cx:pt>
          <cx:pt idx="1182">0.69739943564581897</cx:pt>
          <cx:pt idx="1183">0.69739943564581897</cx:pt>
          <cx:pt idx="1184">0.69739943564581897</cx:pt>
          <cx:pt idx="1185">0.69739943564581897</cx:pt>
          <cx:pt idx="1186">0.69739943564581897</cx:pt>
          <cx:pt idx="1187">0.69739943564581897</cx:pt>
          <cx:pt idx="1188">0.69739943564581897</cx:pt>
          <cx:pt idx="1189">0.69739943564581897</cx:pt>
          <cx:pt idx="1190">0.69739943564581897</cx:pt>
          <cx:pt idx="1191">0.69739943564581897</cx:pt>
          <cx:pt idx="1192">0.69739943564581897</cx:pt>
          <cx:pt idx="1193">0.69739943564581897</cx:pt>
          <cx:pt idx="1194">0.69739943564581897</cx:pt>
          <cx:pt idx="1195">0.69739943564581897</cx:pt>
          <cx:pt idx="1196">0.69739943564581897</cx:pt>
          <cx:pt idx="1197">0.69739943564581897</cx:pt>
          <cx:pt idx="1198">0.69739943564581897</cx:pt>
          <cx:pt idx="1199">0.69739943564581897</cx:pt>
          <cx:pt idx="1200">0.69739943564581897</cx:pt>
          <cx:pt idx="1201">0.69739943564581897</cx:pt>
          <cx:pt idx="1202">0.69739943564581897</cx:pt>
          <cx:pt idx="1203">0.69739943564581897</cx:pt>
          <cx:pt idx="1204">0.69739943564581897</cx:pt>
          <cx:pt idx="1205">0.69739943564581897</cx:pt>
          <cx:pt idx="1206">0.69739943564581897</cx:pt>
          <cx:pt idx="1207">0.69739943564581897</cx:pt>
          <cx:pt idx="1208">0.69739943564581897</cx:pt>
          <cx:pt idx="1209">0.69739943564581897</cx:pt>
          <cx:pt idx="1210">0.69739943564581897</cx:pt>
          <cx:pt idx="1211">0.69739943564581897</cx:pt>
          <cx:pt idx="1212">0.69739943564581897</cx:pt>
          <cx:pt idx="1213">0.69739943564581897</cx:pt>
          <cx:pt idx="1214">0.69442335893770601</cx:pt>
          <cx:pt idx="1215">0.69099421622917601</cx:pt>
          <cx:pt idx="1216">0.69099421622917601</cx:pt>
          <cx:pt idx="1217">0.69099421622917601</cx:pt>
          <cx:pt idx="1218">0.69099421622917601</cx:pt>
          <cx:pt idx="1219">0.69099421622917601</cx:pt>
          <cx:pt idx="1220">0.69099421622917601</cx:pt>
          <cx:pt idx="1221">0.67791595402416804</cx:pt>
          <cx:pt idx="1222">0.67791595402416804</cx:pt>
          <cx:pt idx="1223">0.67791595402416804</cx:pt>
          <cx:pt idx="1224">0.65615270873269405</cx:pt>
          <cx:pt idx="1225">0.64494616875961197</cx:pt>
          <cx:pt idx="1226">0.64494616875961197</cx:pt>
          <cx:pt idx="1227">0.64384052273981995</cx:pt>
          <cx:pt idx="1228">0.62417710184784603</cx:pt>
          <cx:pt idx="1229">0.59398554963153005</cx:pt>
          <cx:pt idx="1230">0.59398554963153005</cx:pt>
          <cx:pt idx="1231">0.59398554963153005</cx:pt>
          <cx:pt idx="1232">0.59398554963153005</cx:pt>
          <cx:pt idx="1233">0.59398554963153005</cx:pt>
          <cx:pt idx="1234">0.59398554963153005</cx:pt>
          <cx:pt idx="1235">0.59398554963153005</cx:pt>
          <cx:pt idx="1236">0.59398554963153005</cx:pt>
          <cx:pt idx="1237">0.59398554963153005</cx:pt>
          <cx:pt idx="1238">0.59398554963153005</cx:pt>
          <cx:pt idx="1239">0.59398554963153005</cx:pt>
          <cx:pt idx="1240">0.59398554963153005</cx:pt>
          <cx:pt idx="1241">0.59398554963153005</cx:pt>
          <cx:pt idx="1242">0.59398554963153005</cx:pt>
          <cx:pt idx="1243">0.59398554963153005</cx:pt>
          <cx:pt idx="1244">0.59398554963153005</cx:pt>
          <cx:pt idx="1245">0.59398554963153005</cx:pt>
          <cx:pt idx="1246">0.59398554963153005</cx:pt>
          <cx:pt idx="1247">0.59398554963153005</cx:pt>
          <cx:pt idx="1248">0.59398554963153005</cx:pt>
          <cx:pt idx="1249">0.58415990757202596</cx:pt>
          <cx:pt idx="1250">0.58412331164503695</cx:pt>
          <cx:pt idx="1251">0.58412331164503695</cx:pt>
          <cx:pt idx="1252">0.58412331164503695</cx:pt>
          <cx:pt idx="1253">0.58412331164503695</cx:pt>
          <cx:pt idx="1254">0.58412331164503695</cx:pt>
          <cx:pt idx="1255">0.58412331164503695</cx:pt>
          <cx:pt idx="1256">0.58412331164503695</cx:pt>
          <cx:pt idx="1257">0.58412331164503695</cx:pt>
          <cx:pt idx="1258">0.58412331164503695</cx:pt>
          <cx:pt idx="1259">0.58412331164503695</cx:pt>
          <cx:pt idx="1260">0.58412331164503695</cx:pt>
          <cx:pt idx="1261">0.58412331164503695</cx:pt>
          <cx:pt idx="1262">0.58412331164503695</cx:pt>
          <cx:pt idx="1263">0.58412331164503695</cx:pt>
          <cx:pt idx="1264">0.58412331164503695</cx:pt>
          <cx:pt idx="1265">0.58412331164503695</cx:pt>
          <cx:pt idx="1266">0.58412331164503695</cx:pt>
          <cx:pt idx="1267">0.58412331164503695</cx:pt>
          <cx:pt idx="1268">0.58412331164503695</cx:pt>
          <cx:pt idx="1269">0.58412331164503695</cx:pt>
          <cx:pt idx="1270">0.58412331164503695</cx:pt>
          <cx:pt idx="1271">0.58412331164503695</cx:pt>
          <cx:pt idx="1272">0.58412331164503695</cx:pt>
          <cx:pt idx="1273">0.58412331164503695</cx:pt>
          <cx:pt idx="1274">0.58412331164503695</cx:pt>
          <cx:pt idx="1275">0.58412331164503695</cx:pt>
          <cx:pt idx="1276">0.58412331164503695</cx:pt>
          <cx:pt idx="1277">0.58412331164503695</cx:pt>
          <cx:pt idx="1278">0.58412331164503695</cx:pt>
          <cx:pt idx="1279">0.58412331164503695</cx:pt>
          <cx:pt idx="1280">0.58412331164503695</cx:pt>
          <cx:pt idx="1281">0.58412331164503695</cx:pt>
          <cx:pt idx="1282">0.58412331164503695</cx:pt>
          <cx:pt idx="1283">0.58412331164503695</cx:pt>
          <cx:pt idx="1284">0.58412331164503695</cx:pt>
          <cx:pt idx="1285">0.58412331164503695</cx:pt>
          <cx:pt idx="1286">0.58412331164503695</cx:pt>
          <cx:pt idx="1287">0.58412331164503695</cx:pt>
          <cx:pt idx="1288">0.58412331164503695</cx:pt>
          <cx:pt idx="1289">0.58412331164503695</cx:pt>
          <cx:pt idx="1290">0.58412331164503695</cx:pt>
          <cx:pt idx="1291">0.58412331164503695</cx:pt>
          <cx:pt idx="1292">0.58412331164503695</cx:pt>
          <cx:pt idx="1293">0.58412331164503695</cx:pt>
          <cx:pt idx="1294">0.58412331164503695</cx:pt>
          <cx:pt idx="1295">0.58412331164503695</cx:pt>
          <cx:pt idx="1296">0.58412331164503695</cx:pt>
          <cx:pt idx="1297">0.58412331164503695</cx:pt>
          <cx:pt idx="1298">0.58412331164503695</cx:pt>
          <cx:pt idx="1299">0.58412331164503695</cx:pt>
          <cx:pt idx="1300">0.58412331164503695</cx:pt>
          <cx:pt idx="1301">0.58412331164503695</cx:pt>
          <cx:pt idx="1302">0.58412331164503695</cx:pt>
          <cx:pt idx="1303">0.58412331164503695</cx:pt>
          <cx:pt idx="1304">0.58412331164503695</cx:pt>
          <cx:pt idx="1305">0.58412331164503695</cx:pt>
          <cx:pt idx="1306">0.58412331164503695</cx:pt>
          <cx:pt idx="1307">0.58412331164503695</cx:pt>
          <cx:pt idx="1308">0.58412331164503695</cx:pt>
          <cx:pt idx="1309">0.58412331164503695</cx:pt>
          <cx:pt idx="1310">0.58412331164503695</cx:pt>
          <cx:pt idx="1311">0.58412331164503695</cx:pt>
          <cx:pt idx="1312">0.58412331164503695</cx:pt>
          <cx:pt idx="1313">0.58412331164503695</cx:pt>
          <cx:pt idx="1314">0.58412331164503695</cx:pt>
          <cx:pt idx="1315">0.58412331164503695</cx:pt>
          <cx:pt idx="1316">0.58412331164503695</cx:pt>
          <cx:pt idx="1317">0.58412331164503695</cx:pt>
          <cx:pt idx="1318">0.58412331164503695</cx:pt>
          <cx:pt idx="1319">0.58412331164503695</cx:pt>
          <cx:pt idx="1320">0.58412331164503695</cx:pt>
          <cx:pt idx="1321">0.58412331164503695</cx:pt>
          <cx:pt idx="1322">0.58412331164503695</cx:pt>
          <cx:pt idx="1323">0.58412331164503695</cx:pt>
          <cx:pt idx="1324">0.58412331164503695</cx:pt>
          <cx:pt idx="1325">0.58412331164503695</cx:pt>
          <cx:pt idx="1326">0.58412331164503695</cx:pt>
          <cx:pt idx="1327">0.58412331164503695</cx:pt>
          <cx:pt idx="1328">0.58412331164503695</cx:pt>
          <cx:pt idx="1329">0.58412331164503695</cx:pt>
          <cx:pt idx="1330">0.58412331164503695</cx:pt>
          <cx:pt idx="1331">0.57567105609728897</cx:pt>
          <cx:pt idx="1332">0.57567105609728897</cx:pt>
          <cx:pt idx="1333">0.57567105609728897</cx:pt>
          <cx:pt idx="1334">0.57567105609728897</cx:pt>
          <cx:pt idx="1335">0.57567105609728897</cx:pt>
          <cx:pt idx="1336">0.57567105609728897</cx:pt>
          <cx:pt idx="1337">0.57567105609728897</cx:pt>
          <cx:pt idx="1338">0.57567105609728897</cx:pt>
          <cx:pt idx="1339">0.57567105609728897</cx:pt>
          <cx:pt idx="1340">0.57567105609728897</cx:pt>
          <cx:pt idx="1341">0.57567105609728897</cx:pt>
          <cx:pt idx="1342">0.57567105609728897</cx:pt>
          <cx:pt idx="1343">0.57567105609728897</cx:pt>
          <cx:pt idx="1344">0.57567105609728897</cx:pt>
          <cx:pt idx="1345">0.57567105609728897</cx:pt>
          <cx:pt idx="1346">0.57567105609728897</cx:pt>
          <cx:pt idx="1347">0.57567105609728897</cx:pt>
          <cx:pt idx="1348">0.57567105609728897</cx:pt>
          <cx:pt idx="1349">0.57567105609728897</cx:pt>
          <cx:pt idx="1350">0.56898203721322804</cx:pt>
          <cx:pt idx="1351">0.56898203721322804</cx:pt>
          <cx:pt idx="1352">0.56882010068951205</cx:pt>
          <cx:pt idx="1353">0.56645952006700395</cx:pt>
          <cx:pt idx="1354">0.56645952006700395</cx:pt>
          <cx:pt idx="1355">0.56645952006700395</cx:pt>
          <cx:pt idx="1356">0.55600217829603504</cx:pt>
          <cx:pt idx="1357">0.51629252902169198</cx:pt>
          <cx:pt idx="1358">0.51181008002865003</cx:pt>
          <cx:pt idx="1359">0.51181008002865003</cx:pt>
          <cx:pt idx="1360">0.48157179892909702</cx:pt>
          <cx:pt idx="1361">0.48157179892909702</cx:pt>
          <cx:pt idx="1362">0.48157179892909702</cx:pt>
          <cx:pt idx="1363">0.48157179892909702</cx:pt>
          <cx:pt idx="1364">0.48157179892909702</cx:pt>
          <cx:pt idx="1365">0.48157179892909702</cx:pt>
          <cx:pt idx="1366">0.48157179892909702</cx:pt>
          <cx:pt idx="1367">0.48157179892909702</cx:pt>
          <cx:pt idx="1368">0.48157179892909702</cx:pt>
          <cx:pt idx="1369">0.48157179892909702</cx:pt>
          <cx:pt idx="1370">0.48157179892909702</cx:pt>
          <cx:pt idx="1371">0.48157179892909702</cx:pt>
          <cx:pt idx="1372">0.48157179892909702</cx:pt>
          <cx:pt idx="1373">0.48157179892909702</cx:pt>
          <cx:pt idx="1374">0.48157179892909702</cx:pt>
          <cx:pt idx="1375">0.48157179892909702</cx:pt>
          <cx:pt idx="1376">0.48157179892909702</cx:pt>
          <cx:pt idx="1377">0.48157179892909702</cx:pt>
          <cx:pt idx="1378">0.48157179892909702</cx:pt>
          <cx:pt idx="1379">0.48157179892909702</cx:pt>
          <cx:pt idx="1380">0.48157179892909702</cx:pt>
          <cx:pt idx="1381">0.48157179892909702</cx:pt>
          <cx:pt idx="1382">0.48157179892909702</cx:pt>
          <cx:pt idx="1383">0.48157179892909702</cx:pt>
          <cx:pt idx="1384">0.48157179892909702</cx:pt>
          <cx:pt idx="1385">0.48157179892909702</cx:pt>
          <cx:pt idx="1386">0.48157179892909702</cx:pt>
          <cx:pt idx="1387">0.48157179892909702</cx:pt>
          <cx:pt idx="1388">0.48157179892909702</cx:pt>
          <cx:pt idx="1389">0.48157179892909702</cx:pt>
          <cx:pt idx="1390">0.48157179892909702</cx:pt>
          <cx:pt idx="1391">0.48157179892909702</cx:pt>
          <cx:pt idx="1392">0.48157179892909702</cx:pt>
          <cx:pt idx="1393">0.48157179892909702</cx:pt>
          <cx:pt idx="1394">0.48157179892909702</cx:pt>
          <cx:pt idx="1395">0.48157179892909702</cx:pt>
          <cx:pt idx="1396">0.48157179892909702</cx:pt>
          <cx:pt idx="1397">0.48157179892909702</cx:pt>
          <cx:pt idx="1398">0.48157179892909702</cx:pt>
          <cx:pt idx="1399">0.48157179892909702</cx:pt>
          <cx:pt idx="1400">0.48157179892909702</cx:pt>
          <cx:pt idx="1401">0.48157179892909702</cx:pt>
          <cx:pt idx="1402">0.48157179892909702</cx:pt>
          <cx:pt idx="1403">0.48157179892909702</cx:pt>
          <cx:pt idx="1404">0.48157179892909702</cx:pt>
          <cx:pt idx="1405">0.48157179892909702</cx:pt>
          <cx:pt idx="1406">0.48157179892909702</cx:pt>
          <cx:pt idx="1407">0.48157179892909702</cx:pt>
          <cx:pt idx="1408">0.48157179892909702</cx:pt>
          <cx:pt idx="1409">0.48157179892909702</cx:pt>
          <cx:pt idx="1410">0.48157179892909702</cx:pt>
          <cx:pt idx="1411">0.48157179892909702</cx:pt>
          <cx:pt idx="1412">0.48157179892909702</cx:pt>
          <cx:pt idx="1413">0.48157179892909702</cx:pt>
          <cx:pt idx="1414">0.48157179892909702</cx:pt>
          <cx:pt idx="1415">0.48157179892909702</cx:pt>
          <cx:pt idx="1416">0.48157179892909702</cx:pt>
          <cx:pt idx="1417">0.48157179892909702</cx:pt>
          <cx:pt idx="1418">0.48157179892909702</cx:pt>
          <cx:pt idx="1419">0.48157179892909702</cx:pt>
          <cx:pt idx="1420">0.48157179892909702</cx:pt>
          <cx:pt idx="1421">0.48157179892909702</cx:pt>
          <cx:pt idx="1422">0.48157179892909702</cx:pt>
          <cx:pt idx="1423">0.48157179892909702</cx:pt>
          <cx:pt idx="1424">0.48157179892909702</cx:pt>
          <cx:pt idx="1425">0.478268207315658</cx:pt>
          <cx:pt idx="1426">0.47449198217767402</cx:pt>
          <cx:pt idx="1427">0.47449198217767402</cx:pt>
          <cx:pt idx="1428">0.47449198217767402</cx:pt>
          <cx:pt idx="1429">0.47449198217767402</cx:pt>
          <cx:pt idx="1430">0.47449198217767402</cx:pt>
          <cx:pt idx="1431">0.47449198217767402</cx:pt>
          <cx:pt idx="1432">0.47449198217767402</cx:pt>
          <cx:pt idx="1433">0.47449198217767402</cx:pt>
          <cx:pt idx="1434">0.47449198217767402</cx:pt>
          <cx:pt idx="1435">0.47449198217767402</cx:pt>
          <cx:pt idx="1436">0.47449198217767402</cx:pt>
          <cx:pt idx="1437">0.47449198217767402</cx:pt>
          <cx:pt idx="1438">0.47449198217767402</cx:pt>
          <cx:pt idx="1439">0.47449198217767402</cx:pt>
          <cx:pt idx="1440">0.47449198217767402</cx:pt>
          <cx:pt idx="1441">0.47449198217767402</cx:pt>
          <cx:pt idx="1442">0.47449198217767402</cx:pt>
          <cx:pt idx="1443">0.47449198217767402</cx:pt>
          <cx:pt idx="1444">0.47449198217767402</cx:pt>
          <cx:pt idx="1445">0.47449198217767402</cx:pt>
          <cx:pt idx="1446">0.47449198217767402</cx:pt>
          <cx:pt idx="1447">0.47449198217767402</cx:pt>
          <cx:pt idx="1448">0.47449198217767402</cx:pt>
          <cx:pt idx="1449">0.47449198217767402</cx:pt>
          <cx:pt idx="1450">0.47449198217767402</cx:pt>
          <cx:pt idx="1451">0.47449198217767402</cx:pt>
          <cx:pt idx="1452">0.47449198217767402</cx:pt>
          <cx:pt idx="1453">0.47449198217767402</cx:pt>
          <cx:pt idx="1454">0.47449198217767402</cx:pt>
          <cx:pt idx="1455">0.47449198217767402</cx:pt>
          <cx:pt idx="1456">0.47449198217767402</cx:pt>
          <cx:pt idx="1457">0.47449198217767402</cx:pt>
          <cx:pt idx="1458">0.47449198217767402</cx:pt>
          <cx:pt idx="1459">0.47449198217767402</cx:pt>
          <cx:pt idx="1460">0.47449198217767402</cx:pt>
          <cx:pt idx="1461">0.47449198217767402</cx:pt>
          <cx:pt idx="1462">0.47449198217767402</cx:pt>
          <cx:pt idx="1463">0.47449198217767402</cx:pt>
          <cx:pt idx="1464">0.47449198217767402</cx:pt>
          <cx:pt idx="1465">0.47449198217767402</cx:pt>
          <cx:pt idx="1466">0.47449198217767402</cx:pt>
          <cx:pt idx="1467">0.47449198217767402</cx:pt>
          <cx:pt idx="1468">0.47449198217767402</cx:pt>
          <cx:pt idx="1469">0.47449198217767402</cx:pt>
          <cx:pt idx="1470">0.47449198217767402</cx:pt>
          <cx:pt idx="1471">0.47449198217767402</cx:pt>
          <cx:pt idx="1472">0.47449198217767402</cx:pt>
          <cx:pt idx="1473">0.47449198217767402</cx:pt>
          <cx:pt idx="1474">0.47449198217767402</cx:pt>
          <cx:pt idx="1475">0.47449198217767402</cx:pt>
          <cx:pt idx="1476">0.47449198217767402</cx:pt>
          <cx:pt idx="1477">0.47449198217767402</cx:pt>
          <cx:pt idx="1478">0.47449198217767402</cx:pt>
          <cx:pt idx="1479">0.47449198217767402</cx:pt>
          <cx:pt idx="1480">0.47449198217767402</cx:pt>
          <cx:pt idx="1481">0.47449198217767402</cx:pt>
          <cx:pt idx="1482">0.47449198217767402</cx:pt>
          <cx:pt idx="1483">0.47449198217767402</cx:pt>
          <cx:pt idx="1484">0.47449198217767402</cx:pt>
          <cx:pt idx="1485">0.47449198217767402</cx:pt>
          <cx:pt idx="1486">0.47449198217767402</cx:pt>
          <cx:pt idx="1487">0.471373121888091</cx:pt>
          <cx:pt idx="1488">0.471373121888091</cx:pt>
          <cx:pt idx="1489">0.471373121888091</cx:pt>
          <cx:pt idx="1490">0.471373121888091</cx:pt>
          <cx:pt idx="1491">0.471373121888091</cx:pt>
          <cx:pt idx="1492">0.471373121888091</cx:pt>
          <cx:pt idx="1493">0.471373121888091</cx:pt>
          <cx:pt idx="1494">0.471373121888091</cx:pt>
          <cx:pt idx="1495">0.45803969294813301</cx:pt>
          <cx:pt idx="1496">0.45803969294813301</cx:pt>
          <cx:pt idx="1497">0.45803969294813301</cx:pt>
          <cx:pt idx="1498">0.45803969294813301</cx:pt>
          <cx:pt idx="1499">0.45803969294813301</cx:pt>
          <cx:pt idx="1500">0.45803969294813301</cx:pt>
          <cx:pt idx="1501">0.45803969294813301</cx:pt>
          <cx:pt idx="1502">0.45803969294813301</cx:pt>
          <cx:pt idx="1503">0.45803969294813301</cx:pt>
          <cx:pt idx="1504">0.45803969294813301</cx:pt>
          <cx:pt idx="1505">0.45803969294813301</cx:pt>
          <cx:pt idx="1506">0.45803969294813301</cx:pt>
          <cx:pt idx="1507">0.45803969294813301</cx:pt>
          <cx:pt idx="1508">0.45803969294813301</cx:pt>
          <cx:pt idx="1509">0.45803969294813301</cx:pt>
          <cx:pt idx="1510">0.45803969294813301</cx:pt>
          <cx:pt idx="1511">0.45803969294813301</cx:pt>
          <cx:pt idx="1512">0.45803969294813301</cx:pt>
          <cx:pt idx="1513">0.45803969294813301</cx:pt>
          <cx:pt idx="1514">0.45803969294813301</cx:pt>
          <cx:pt idx="1515">0.45803969294813301</cx:pt>
          <cx:pt idx="1516">0.45803969294813301</cx:pt>
          <cx:pt idx="1517">0.45803969294813301</cx:pt>
          <cx:pt idx="1518">0.45803969294813301</cx:pt>
          <cx:pt idx="1519">0.45803969294813301</cx:pt>
          <cx:pt idx="1520">0.45803969294813301</cx:pt>
          <cx:pt idx="1521">0.45803969294813301</cx:pt>
          <cx:pt idx="1522">0.45803969294813301</cx:pt>
          <cx:pt idx="1523">0.45803969294813301</cx:pt>
          <cx:pt idx="1524">0.45803969294813301</cx:pt>
          <cx:pt idx="1525">0.45803969294813301</cx:pt>
          <cx:pt idx="1526">0.45803969294813301</cx:pt>
          <cx:pt idx="1527">0.45494927089491299</cx:pt>
          <cx:pt idx="1528">0.45494927089491299</cx:pt>
          <cx:pt idx="1529">0.45494927089491299</cx:pt>
          <cx:pt idx="1530">0.45494927089491299</cx:pt>
          <cx:pt idx="1531">0.45494927089491299</cx:pt>
          <cx:pt idx="1532">0.45494927089491299</cx:pt>
          <cx:pt idx="1533">0.45494927089491299</cx:pt>
          <cx:pt idx="1534">0.45494927089491299</cx:pt>
          <cx:pt idx="1535">0.45494927089491299</cx:pt>
          <cx:pt idx="1536">0.45494927089491299</cx:pt>
          <cx:pt idx="1537">0.45494927089491299</cx:pt>
          <cx:pt idx="1538">0.45494927089491299</cx:pt>
          <cx:pt idx="1539">0.45494927089491299</cx:pt>
          <cx:pt idx="1540">0.45494927089491299</cx:pt>
          <cx:pt idx="1541">0.45494927089491299</cx:pt>
          <cx:pt idx="1542">0.45494927089491299</cx:pt>
          <cx:pt idx="1543">0.45465919350495598</cx:pt>
          <cx:pt idx="1544">0.454383136214568</cx:pt>
          <cx:pt idx="1545">0.45245830726330299</cx:pt>
          <cx:pt idx="1546">0.45245830726330299</cx:pt>
          <cx:pt idx="1547">0.45245830726330299</cx:pt>
          <cx:pt idx="1548">0.45245830726330299</cx:pt>
          <cx:pt idx="1549">0.45245830726330299</cx:pt>
          <cx:pt idx="1550">0.45245830726330299</cx:pt>
          <cx:pt idx="1551">0.45245830726330299</cx:pt>
          <cx:pt idx="1552">0.45230998719665899</cx:pt>
          <cx:pt idx="1553">0.44837021679630001</cx:pt>
          <cx:pt idx="1554">0.44800533565668899</cx:pt>
          <cx:pt idx="1555">0.44800533565668899</cx:pt>
          <cx:pt idx="1556">0.44800533565668899</cx:pt>
          <cx:pt idx="1557">0.44800533565668899</cx:pt>
          <cx:pt idx="1558">0.44800533565668899</cx:pt>
          <cx:pt idx="1559">0.44800533565668899</cx:pt>
          <cx:pt idx="1560">0.44800533565668899</cx:pt>
          <cx:pt idx="1561">0.44800533565668899</cx:pt>
          <cx:pt idx="1562">0.44800533565668899</cx:pt>
          <cx:pt idx="1563">0.44800533565668899</cx:pt>
          <cx:pt idx="1564">0.44800533565668899</cx:pt>
          <cx:pt idx="1565">0.44800533565668899</cx:pt>
          <cx:pt idx="1566">0.44800533565668899</cx:pt>
          <cx:pt idx="1567">0.44800533565668899</cx:pt>
          <cx:pt idx="1568">0.44800533565668899</cx:pt>
          <cx:pt idx="1569">0.44800533565668899</cx:pt>
          <cx:pt idx="1570">0.44800533565668899</cx:pt>
          <cx:pt idx="1571">0.44800533565668899</cx:pt>
          <cx:pt idx="1572">0.44800533565668899</cx:pt>
          <cx:pt idx="1573">0.44800533565668899</cx:pt>
          <cx:pt idx="1574">0.44800533565668899</cx:pt>
          <cx:pt idx="1575">0.44800533565668899</cx:pt>
          <cx:pt idx="1576">0.44800533565668899</cx:pt>
          <cx:pt idx="1577">0.44800533565668899</cx:pt>
          <cx:pt idx="1578">0.44800533565668899</cx:pt>
          <cx:pt idx="1579">0.447721992787116</cx:pt>
          <cx:pt idx="1580">0.43791978834616502</cx:pt>
          <cx:pt idx="1581">0.43791978834616502</cx:pt>
          <cx:pt idx="1582">0.43557904568037098</cx:pt>
          <cx:pt idx="1583">0.43557904568037098</cx:pt>
          <cx:pt idx="1584">0.43016733728627699</cx:pt>
          <cx:pt idx="1585">0.42614491820516098</cx:pt>
          <cx:pt idx="1586">0.39691528957571398</cx:pt>
          <cx:pt idx="1587">0.39691528957571398</cx:pt>
          <cx:pt idx="1588">0.39691528957571398</cx:pt>
          <cx:pt idx="1589">0.39691528957571398</cx:pt>
          <cx:pt idx="1590">0.39691528957571398</cx:pt>
          <cx:pt idx="1591">0.39497234618689803</cx:pt>
          <cx:pt idx="1592">0.39497234618689803</cx:pt>
          <cx:pt idx="1593">0.39497234618689803</cx:pt>
          <cx:pt idx="1594">0.39493248827605498</cx:pt>
          <cx:pt idx="1595">0.39493248827605498</cx:pt>
          <cx:pt idx="1596">0.39493248827605498</cx:pt>
          <cx:pt idx="1597">0.39493248827605498</cx:pt>
          <cx:pt idx="1598">0.39493248827605498</cx:pt>
          <cx:pt idx="1599">0.39493248827605498</cx:pt>
          <cx:pt idx="1600">0.39493248827605498</cx:pt>
          <cx:pt idx="1601">0.39493248827605498</cx:pt>
          <cx:pt idx="1602">0.39493248827605498</cx:pt>
          <cx:pt idx="1603">0.39261651617641802</cx:pt>
          <cx:pt idx="1604">0.390737663985257</cx:pt>
          <cx:pt idx="1605">0.390737663985257</cx:pt>
          <cx:pt idx="1606">0.390737663985257</cx:pt>
          <cx:pt idx="1607">0.390737663985257</cx:pt>
          <cx:pt idx="1608">0.390737663985257</cx:pt>
          <cx:pt idx="1609">0.390737663985257</cx:pt>
          <cx:pt idx="1610">0.390737663985257</cx:pt>
          <cx:pt idx="1611">0.390737663985257</cx:pt>
          <cx:pt idx="1612">0.390737663985257</cx:pt>
          <cx:pt idx="1613">0.390737663985257</cx:pt>
          <cx:pt idx="1614">0.390737663985257</cx:pt>
          <cx:pt idx="1615">0.390737663985257</cx:pt>
          <cx:pt idx="1616">0.390737663985257</cx:pt>
          <cx:pt idx="1617">0.390737663985257</cx:pt>
          <cx:pt idx="1618">0.390737663985257</cx:pt>
          <cx:pt idx="1619">0.390737663985257</cx:pt>
          <cx:pt idx="1620">0.390737663985257</cx:pt>
          <cx:pt idx="1621">0.390737663985257</cx:pt>
          <cx:pt idx="1622">0.390737663985257</cx:pt>
          <cx:pt idx="1623">0.390737663985257</cx:pt>
          <cx:pt idx="1624">0.390737663985257</cx:pt>
          <cx:pt idx="1625">0.390737663985257</cx:pt>
          <cx:pt idx="1626">0.390737663985257</cx:pt>
          <cx:pt idx="1627">0.390737663985257</cx:pt>
          <cx:pt idx="1628">0.390737663985257</cx:pt>
          <cx:pt idx="1629">0.390737663985257</cx:pt>
          <cx:pt idx="1630">0.390737663985257</cx:pt>
          <cx:pt idx="1631">0.390737663985257</cx:pt>
          <cx:pt idx="1632">0.390737663985257</cx:pt>
          <cx:pt idx="1633">0.390737663985257</cx:pt>
          <cx:pt idx="1634">0.390737663985257</cx:pt>
          <cx:pt idx="1635">0.390737663985257</cx:pt>
          <cx:pt idx="1636">0.390737663985257</cx:pt>
          <cx:pt idx="1637">0.390737663985257</cx:pt>
          <cx:pt idx="1638">0.390737663985257</cx:pt>
          <cx:pt idx="1639">0.390737663985257</cx:pt>
          <cx:pt idx="1640">0.390737663985257</cx:pt>
          <cx:pt idx="1641">0.390737663985257</cx:pt>
          <cx:pt idx="1642">0.38858168244541402</cx:pt>
          <cx:pt idx="1643">0.38858168244541402</cx:pt>
          <cx:pt idx="1644">0.38858168244541402</cx:pt>
          <cx:pt idx="1645">0.38858168244541402</cx:pt>
          <cx:pt idx="1646">0.38729084154350601</cx:pt>
          <cx:pt idx="1647">0.38729084154350601</cx:pt>
          <cx:pt idx="1648">0.38729084154350601</cx:pt>
          <cx:pt idx="1649">0.38679515848464002</cx:pt>
          <cx:pt idx="1650">0.38679515848464002</cx:pt>
          <cx:pt idx="1651">0.38679515848464002</cx:pt>
          <cx:pt idx="1652">0.38679515848464002</cx:pt>
          <cx:pt idx="1653">0.38679515848464002</cx:pt>
          <cx:pt idx="1654">0.38679515848464002</cx:pt>
          <cx:pt idx="1655">0.38125085942272802</cx:pt>
          <cx:pt idx="1656">0.38078038651143498</cx:pt>
          <cx:pt idx="1657">0.38078038651143498</cx:pt>
          <cx:pt idx="1658">0.38078038651143498</cx:pt>
          <cx:pt idx="1659">0.38078038651143498</cx:pt>
          <cx:pt idx="1660">0.38078038651143498</cx:pt>
          <cx:pt idx="1661">0.38078038651143498</cx:pt>
          <cx:pt idx="1662">0.38078038651143498</cx:pt>
          <cx:pt idx="1663">0.37435885135070501</cx:pt>
          <cx:pt idx="1664">0.37435885135070501</cx:pt>
          <cx:pt idx="1665">0.37435885135070501</cx:pt>
          <cx:pt idx="1666">0.37435885135070501</cx:pt>
          <cx:pt idx="1667">0.37435885135070501</cx:pt>
          <cx:pt idx="1668">0.37435885135070501</cx:pt>
          <cx:pt idx="1669">0.37435885135070501</cx:pt>
          <cx:pt idx="1670">0.37435885135070501</cx:pt>
          <cx:pt idx="1671">0.37435885135070501</cx:pt>
          <cx:pt idx="1672">0.37435885135070501</cx:pt>
          <cx:pt idx="1673">0.37435885135070501</cx:pt>
          <cx:pt idx="1674">0.37435885135070501</cx:pt>
          <cx:pt idx="1675">0.37435885135070501</cx:pt>
          <cx:pt idx="1676">0.37435885135070501</cx:pt>
          <cx:pt idx="1677">0.37435885135070501</cx:pt>
          <cx:pt idx="1678">0.37435885135070501</cx:pt>
          <cx:pt idx="1679">0.37435885135070501</cx:pt>
          <cx:pt idx="1680">0.37435885135070501</cx:pt>
          <cx:pt idx="1681">0.37435885135070501</cx:pt>
          <cx:pt idx="1682">0.37435885135070501</cx:pt>
          <cx:pt idx="1683">0.37435885135070501</cx:pt>
          <cx:pt idx="1684">0.37435885135070501</cx:pt>
          <cx:pt idx="1685">0.37435885135070501</cx:pt>
          <cx:pt idx="1686">0.37435885135070501</cx:pt>
          <cx:pt idx="1687">0.37435885135070501</cx:pt>
          <cx:pt idx="1688">0.37435885135070501</cx:pt>
          <cx:pt idx="1689">0.37435885135070501</cx:pt>
          <cx:pt idx="1690">0.37435885135070501</cx:pt>
          <cx:pt idx="1691">0.37435885135070501</cx:pt>
          <cx:pt idx="1692">0.37435885135070501</cx:pt>
          <cx:pt idx="1693">0.37435885135070501</cx:pt>
          <cx:pt idx="1694">0.37435885135070501</cx:pt>
          <cx:pt idx="1695">0.37435885135070501</cx:pt>
          <cx:pt idx="1696">0.37435885135070501</cx:pt>
          <cx:pt idx="1697">0.37435885135070501</cx:pt>
          <cx:pt idx="1698">0.37435885135070501</cx:pt>
          <cx:pt idx="1699">0.37435885135070501</cx:pt>
          <cx:pt idx="1700">0.37435885135070501</cx:pt>
          <cx:pt idx="1701">0.37435885135070501</cx:pt>
          <cx:pt idx="1702">0.37435885135070501</cx:pt>
          <cx:pt idx="1703">0.37435885135070501</cx:pt>
          <cx:pt idx="1704">0.37435885135070501</cx:pt>
          <cx:pt idx="1705">0.37435885135070501</cx:pt>
          <cx:pt idx="1706">0.37435885135070501</cx:pt>
          <cx:pt idx="1707">0.37435885135070501</cx:pt>
          <cx:pt idx="1708">0.37435885135070501</cx:pt>
          <cx:pt idx="1709">0.37435885135070501</cx:pt>
          <cx:pt idx="1710">0.37435885135070501</cx:pt>
          <cx:pt idx="1711">0.37435885135070501</cx:pt>
          <cx:pt idx="1712">0.37435885135070501</cx:pt>
          <cx:pt idx="1713">0.37435885135070501</cx:pt>
          <cx:pt idx="1714">0.37435885135070501</cx:pt>
          <cx:pt idx="1715">0.37435885135070501</cx:pt>
          <cx:pt idx="1716">0.37435885135070501</cx:pt>
          <cx:pt idx="1717">0.37435885135070501</cx:pt>
          <cx:pt idx="1718">0.37435885135070501</cx:pt>
          <cx:pt idx="1719">0.37435885135070501</cx:pt>
          <cx:pt idx="1720">0.37435885135070501</cx:pt>
          <cx:pt idx="1721">0.37435885135070501</cx:pt>
          <cx:pt idx="1722">0.37435885135070501</cx:pt>
          <cx:pt idx="1723">0.37435885135070501</cx:pt>
          <cx:pt idx="1724">0.37435885135070501</cx:pt>
          <cx:pt idx="1725">0.37435885135070501</cx:pt>
          <cx:pt idx="1726">0.37435885135070501</cx:pt>
          <cx:pt idx="1727">0.37435885135070501</cx:pt>
          <cx:pt idx="1728">0.37435885135070501</cx:pt>
          <cx:pt idx="1729">0.37435885135070501</cx:pt>
          <cx:pt idx="1730">0.37435885135070501</cx:pt>
          <cx:pt idx="1731">0.37435885135070501</cx:pt>
          <cx:pt idx="1732">0.37435885135070501</cx:pt>
          <cx:pt idx="1733">0.37435885135070501</cx:pt>
          <cx:pt idx="1734">0.37435885135070501</cx:pt>
          <cx:pt idx="1735">0.37435885135070501</cx:pt>
          <cx:pt idx="1736">0.37435885135070501</cx:pt>
          <cx:pt idx="1737">0.37435885135070501</cx:pt>
          <cx:pt idx="1738">0.37435885135070501</cx:pt>
          <cx:pt idx="1739">0.37435885135070501</cx:pt>
          <cx:pt idx="1740">0.37435885135070501</cx:pt>
          <cx:pt idx="1741">0.37435885135070501</cx:pt>
          <cx:pt idx="1742">0.37435885135070501</cx:pt>
          <cx:pt idx="1743">0.37435885135070501</cx:pt>
          <cx:pt idx="1744">0.37435885135070501</cx:pt>
          <cx:pt idx="1745">0.37435885135070501</cx:pt>
          <cx:pt idx="1746">0.37435885135070501</cx:pt>
          <cx:pt idx="1747">0.37435885135070501</cx:pt>
          <cx:pt idx="1748">0.37435885135070501</cx:pt>
          <cx:pt idx="1749">0.37435885135070501</cx:pt>
          <cx:pt idx="1750">0.37435885135070501</cx:pt>
          <cx:pt idx="1751">0.37435885135070501</cx:pt>
          <cx:pt idx="1752">0.37435885135070501</cx:pt>
          <cx:pt idx="1753">0.37435885135070501</cx:pt>
          <cx:pt idx="1754">0.37435885135070501</cx:pt>
          <cx:pt idx="1755">0.37435885135070501</cx:pt>
          <cx:pt idx="1756">0.37435885135070501</cx:pt>
          <cx:pt idx="1757">0.37435885135070501</cx:pt>
          <cx:pt idx="1758">0.37435885135070501</cx:pt>
          <cx:pt idx="1759">0.37435885135070501</cx:pt>
          <cx:pt idx="1760">0.37435885135070501</cx:pt>
          <cx:pt idx="1761">0.37435885135070501</cx:pt>
          <cx:pt idx="1762">0.37435885135070501</cx:pt>
          <cx:pt idx="1763">0.37435885135070501</cx:pt>
          <cx:pt idx="1764">0.37435885135070501</cx:pt>
          <cx:pt idx="1765">0.37435885135070501</cx:pt>
          <cx:pt idx="1766">0.37435885135070501</cx:pt>
          <cx:pt idx="1767">0.37435885135070501</cx:pt>
          <cx:pt idx="1768">0.37435885135070501</cx:pt>
          <cx:pt idx="1769">0.37435885135070501</cx:pt>
          <cx:pt idx="1770">0.37435885135070501</cx:pt>
          <cx:pt idx="1771">0.37435885135070501</cx:pt>
          <cx:pt idx="1772">0.37435885135070501</cx:pt>
          <cx:pt idx="1773">0.37435885135070501</cx:pt>
          <cx:pt idx="1774">0.37435885135070501</cx:pt>
          <cx:pt idx="1775">0.37435885135070501</cx:pt>
          <cx:pt idx="1776">0.37435885135070501</cx:pt>
          <cx:pt idx="1777">0.37435885135070501</cx:pt>
          <cx:pt idx="1778">0.37435885135070501</cx:pt>
          <cx:pt idx="1779">0.37435885135070501</cx:pt>
          <cx:pt idx="1780">0.37435885135070501</cx:pt>
          <cx:pt idx="1781">0.37435885135070501</cx:pt>
          <cx:pt idx="1782">0.37435885135070501</cx:pt>
          <cx:pt idx="1783">0.37435885135070501</cx:pt>
          <cx:pt idx="1784">0.37435885135070501</cx:pt>
          <cx:pt idx="1785">0.37435885135070501</cx:pt>
          <cx:pt idx="1786">0.37435885135070501</cx:pt>
          <cx:pt idx="1787">0.37435885135070501</cx:pt>
          <cx:pt idx="1788">0.37435885135070501</cx:pt>
          <cx:pt idx="1789">0.37435885135070501</cx:pt>
          <cx:pt idx="1790">0.37016992372669</cx:pt>
          <cx:pt idx="1791">0.37016992372669</cx:pt>
          <cx:pt idx="1792">0.37016992372669</cx:pt>
          <cx:pt idx="1793">0.37016992372669</cx:pt>
          <cx:pt idx="1794">0.37016992372669</cx:pt>
          <cx:pt idx="1795">0.37016992372669</cx:pt>
          <cx:pt idx="1796">0.37016992372669</cx:pt>
          <cx:pt idx="1797">0.37016992372669</cx:pt>
          <cx:pt idx="1798">0.36933180797601201</cx:pt>
          <cx:pt idx="1799">0.36791442004564401</cx:pt>
          <cx:pt idx="1800">0.36791442004564401</cx:pt>
          <cx:pt idx="1801">0.36791442004564401</cx:pt>
          <cx:pt idx="1802">0.36791442004564401</cx:pt>
          <cx:pt idx="1803">0.36791442004564401</cx:pt>
          <cx:pt idx="1804">0.36791442004564401</cx:pt>
          <cx:pt idx="1805">0.36791442004564401</cx:pt>
          <cx:pt idx="1806">0.36791442004564401</cx:pt>
          <cx:pt idx="1807">0.36791442004564401</cx:pt>
          <cx:pt idx="1808">0.36791442004564401</cx:pt>
          <cx:pt idx="1809">0.36791442004564401</cx:pt>
          <cx:pt idx="1810">0.36791442004564401</cx:pt>
          <cx:pt idx="1811">0.36593369986146101</cx:pt>
          <cx:pt idx="1812">0.36593369986146101</cx:pt>
          <cx:pt idx="1813">0.36593369986146101</cx:pt>
          <cx:pt idx="1814">0.36593369986146101</cx:pt>
          <cx:pt idx="1815">0.36593369986146101</cx:pt>
          <cx:pt idx="1816">0.36593369986146101</cx:pt>
          <cx:pt idx="1817">0.36593369986146101</cx:pt>
          <cx:pt idx="1818">0.36593369986146101</cx:pt>
          <cx:pt idx="1819">0.36593369986146101</cx:pt>
          <cx:pt idx="1820">0.36593369986146101</cx:pt>
          <cx:pt idx="1821">0.36593369986146101</cx:pt>
          <cx:pt idx="1822">0.36593369986146101</cx:pt>
          <cx:pt idx="1823">0.36593369986146101</cx:pt>
          <cx:pt idx="1824">0.36593369986146101</cx:pt>
          <cx:pt idx="1825">0.36593369986146101</cx:pt>
          <cx:pt idx="1826">0.36593369986146101</cx:pt>
          <cx:pt idx="1827">0.36593369986146101</cx:pt>
          <cx:pt idx="1828">0.36593369986146101</cx:pt>
          <cx:pt idx="1829">0.36593369986146101</cx:pt>
          <cx:pt idx="1830">0.36593369986146101</cx:pt>
          <cx:pt idx="1831">0.36593369986146101</cx:pt>
          <cx:pt idx="1832">0.36593369986146101</cx:pt>
          <cx:pt idx="1833">0.36593369986146101</cx:pt>
          <cx:pt idx="1834">0.36593369986146101</cx:pt>
          <cx:pt idx="1835">0.36593369986146101</cx:pt>
          <cx:pt idx="1836">0.36593369986146101</cx:pt>
          <cx:pt idx="1837">0.36593369986146101</cx:pt>
          <cx:pt idx="1838">0.36593369986146101</cx:pt>
          <cx:pt idx="1839">0.36593369986146101</cx:pt>
          <cx:pt idx="1840">0.36593369986146101</cx:pt>
          <cx:pt idx="1841">0.36593369986146101</cx:pt>
          <cx:pt idx="1842">0.36593369986146101</cx:pt>
          <cx:pt idx="1843">0.36593369986146101</cx:pt>
          <cx:pt idx="1844">0.36593369986146101</cx:pt>
          <cx:pt idx="1845">0.36593369986146101</cx:pt>
          <cx:pt idx="1846">0.36593369986146101</cx:pt>
          <cx:pt idx="1847">0.36593369986146101</cx:pt>
          <cx:pt idx="1848">0.36593369986146101</cx:pt>
          <cx:pt idx="1849">0.36593369986146101</cx:pt>
          <cx:pt idx="1850">0.36593369986146101</cx:pt>
          <cx:pt idx="1851">0.36593369986146101</cx:pt>
          <cx:pt idx="1852">0.36593369986146101</cx:pt>
          <cx:pt idx="1853">0.36593369986146101</cx:pt>
          <cx:pt idx="1854">0.36593369986146101</cx:pt>
          <cx:pt idx="1855">0.36593369986146101</cx:pt>
          <cx:pt idx="1856">0.36593369986146101</cx:pt>
          <cx:pt idx="1857">0.36593369986146101</cx:pt>
          <cx:pt idx="1858">0.36593369986146101</cx:pt>
          <cx:pt idx="1859">0.36593369986146101</cx:pt>
          <cx:pt idx="1860">0.36593369986146101</cx:pt>
          <cx:pt idx="1861">0.36593369986146101</cx:pt>
          <cx:pt idx="1862">0.36593369986146101</cx:pt>
          <cx:pt idx="1863">0.36593369986146101</cx:pt>
          <cx:pt idx="1864">0.36593369986146101</cx:pt>
          <cx:pt idx="1865">0.36593369986146101</cx:pt>
          <cx:pt idx="1866">0.36593369986146101</cx:pt>
          <cx:pt idx="1867">0.36593369986146101</cx:pt>
          <cx:pt idx="1868">0.36593369986146101</cx:pt>
          <cx:pt idx="1869">0.36593369986146101</cx:pt>
          <cx:pt idx="1870">0.36593369986146101</cx:pt>
          <cx:pt idx="1871">0.36593369986146101</cx:pt>
          <cx:pt idx="1872">0.36593369986146101</cx:pt>
          <cx:pt idx="1873">0.36593369986146101</cx:pt>
          <cx:pt idx="1874">0.36593369986146101</cx:pt>
          <cx:pt idx="1875">0.36593369986146101</cx:pt>
          <cx:pt idx="1876">0.36593369986146101</cx:pt>
          <cx:pt idx="1877">0.36593369986146101</cx:pt>
          <cx:pt idx="1878">0.36593369986146101</cx:pt>
          <cx:pt idx="1879">0.36593369986146101</cx:pt>
          <cx:pt idx="1880">0.36593369986146101</cx:pt>
          <cx:pt idx="1881">0.36593369986146101</cx:pt>
          <cx:pt idx="1882">0.36593369986146101</cx:pt>
          <cx:pt idx="1883">0.36593369986146101</cx:pt>
          <cx:pt idx="1884">0.36593369986146101</cx:pt>
          <cx:pt idx="1885">0.36593369986146101</cx:pt>
          <cx:pt idx="1886">0.36593369986146101</cx:pt>
          <cx:pt idx="1887">0.36593369986146101</cx:pt>
          <cx:pt idx="1888">0.36593369986146101</cx:pt>
          <cx:pt idx="1889">0.36593369986146101</cx:pt>
          <cx:pt idx="1890">0.36593369986146101</cx:pt>
          <cx:pt idx="1891">0.36593369986146101</cx:pt>
          <cx:pt idx="1892">0.36593369986146101</cx:pt>
          <cx:pt idx="1893">0.36593369986146101</cx:pt>
          <cx:pt idx="1894">0.36593369986146101</cx:pt>
          <cx:pt idx="1895">0.36593369986146101</cx:pt>
          <cx:pt idx="1896">0.36593369986146101</cx:pt>
          <cx:pt idx="1897">0.36593369986146101</cx:pt>
          <cx:pt idx="1898">0.36593369986146101</cx:pt>
          <cx:pt idx="1899">0.36593369986146101</cx:pt>
          <cx:pt idx="1900">0.36593369986146101</cx:pt>
          <cx:pt idx="1901">0.36593369986146101</cx:pt>
          <cx:pt idx="1902">0.36593369986146101</cx:pt>
          <cx:pt idx="1903">0.36593369986146101</cx:pt>
          <cx:pt idx="1904">0.36585792240681803</cx:pt>
          <cx:pt idx="1905">0.20064572425982299</cx:pt>
          <cx:pt idx="1906">0.20064572425982299</cx:pt>
          <cx:pt idx="1907">0.20064572425982299</cx:pt>
          <cx:pt idx="1908">0.20064572425982299</cx:pt>
          <cx:pt idx="1909">0.20064572425982299</cx:pt>
          <cx:pt idx="1910">0.20064572425982299</cx:pt>
          <cx:pt idx="1911">0.20064572425982299</cx:pt>
          <cx:pt idx="1912">0.20064572425982299</cx:pt>
          <cx:pt idx="1913">0.20064572425982299</cx:pt>
          <cx:pt idx="1914">0.20064572425982299</cx:pt>
          <cx:pt idx="1915">0.20064572425982299</cx:pt>
          <cx:pt idx="1916">0.20064572425982299</cx:pt>
          <cx:pt idx="1917">0.20064572425982299</cx:pt>
          <cx:pt idx="1918">0.20064572425982299</cx:pt>
          <cx:pt idx="1919">0.20064572425982299</cx:pt>
          <cx:pt idx="1920">0.20064572425982299</cx:pt>
          <cx:pt idx="1921">0.20064572425982299</cx:pt>
          <cx:pt idx="1922">0.20064572425982299</cx:pt>
          <cx:pt idx="1923">0.20064572425982299</cx:pt>
          <cx:pt idx="1924">0.20064572425982299</cx:pt>
          <cx:pt idx="1925">0.20064572425982299</cx:pt>
          <cx:pt idx="1926">0.20064572425982299</cx:pt>
          <cx:pt idx="1927">0.20064572425982299</cx:pt>
          <cx:pt idx="1928">0.20064572425982299</cx:pt>
          <cx:pt idx="1929">0.20064572425982299</cx:pt>
          <cx:pt idx="1930">0.20064572425982299</cx:pt>
          <cx:pt idx="1931">0.20064572425982299</cx:pt>
          <cx:pt idx="1932">0.20064572425982299</cx:pt>
          <cx:pt idx="1933">0.20064572425982299</cx:pt>
          <cx:pt idx="1934">0.20064572425982299</cx:pt>
          <cx:pt idx="1935">0.20064572425982299</cx:pt>
          <cx:pt idx="1936">0.20064572425982299</cx:pt>
          <cx:pt idx="1937">0.20064572425982299</cx:pt>
          <cx:pt idx="1938">0.20064572425982299</cx:pt>
          <cx:pt idx="1939">0.20064572425982299</cx:pt>
          <cx:pt idx="1940">0.20064572425982299</cx:pt>
          <cx:pt idx="1941">0.20064572425982299</cx:pt>
          <cx:pt idx="1942">0.20064572425982299</cx:pt>
          <cx:pt idx="1943">0.20064572425982299</cx:pt>
          <cx:pt idx="1944">0.20064572425982299</cx:pt>
          <cx:pt idx="1945">0.20064572425982299</cx:pt>
          <cx:pt idx="1946">0.20064572425982299</cx:pt>
          <cx:pt idx="1947">0.20064572425982299</cx:pt>
          <cx:pt idx="1948">0.20064572425982299</cx:pt>
          <cx:pt idx="1949">0.20064572425982299</cx:pt>
          <cx:pt idx="1950">0.20064572425982299</cx:pt>
          <cx:pt idx="1951">0.20064572425982299</cx:pt>
          <cx:pt idx="1952">0.20064572425982299</cx:pt>
          <cx:pt idx="1953">0.20064572425982299</cx:pt>
          <cx:pt idx="1954">0.20064572425982299</cx:pt>
          <cx:pt idx="1955">0.20064572425982299</cx:pt>
          <cx:pt idx="1956">0.20064572425982299</cx:pt>
          <cx:pt idx="1957">0.20064572425982299</cx:pt>
          <cx:pt idx="1958">0.20064572425982299</cx:pt>
          <cx:pt idx="1959">0.20064572425982299</cx:pt>
          <cx:pt idx="1960">0.20064572425982299</cx:pt>
          <cx:pt idx="1961">0.20064572425982299</cx:pt>
          <cx:pt idx="1962">0.20064572425982299</cx:pt>
          <cx:pt idx="1963">0.20064572425982299</cx:pt>
          <cx:pt idx="1964">0.20064572425982299</cx:pt>
          <cx:pt idx="1965">0.20064572425982299</cx:pt>
          <cx:pt idx="1966">0.20064572425982299</cx:pt>
          <cx:pt idx="1967">0.20064572425982299</cx:pt>
          <cx:pt idx="1968">0.20064572425982299</cx:pt>
          <cx:pt idx="1969">0.20064572425982299</cx:pt>
          <cx:pt idx="1970">0.20064572425982299</cx:pt>
          <cx:pt idx="1971">0.20064572425982299</cx:pt>
          <cx:pt idx="1972">0.20064572425982299</cx:pt>
          <cx:pt idx="1973">0.20064572425982299</cx:pt>
          <cx:pt idx="1974">0.20064572425982299</cx:pt>
          <cx:pt idx="1975">0.20064572425982299</cx:pt>
          <cx:pt idx="1976">0.20064572425982299</cx:pt>
          <cx:pt idx="1977">0.20064572425982299</cx:pt>
          <cx:pt idx="1978">0.20064572425982299</cx:pt>
          <cx:pt idx="1979">0.20064572425982299</cx:pt>
          <cx:pt idx="1980">0.20064572425982299</cx:pt>
          <cx:pt idx="1981">0.20064572425982299</cx:pt>
          <cx:pt idx="1982">0.20064572425982299</cx:pt>
          <cx:pt idx="1983">0.20064572425982299</cx:pt>
          <cx:pt idx="1984">0.20064572425982299</cx:pt>
          <cx:pt idx="1985">0.20064572425982299</cx:pt>
          <cx:pt idx="1986">0.20064572425982299</cx:pt>
          <cx:pt idx="1987">0.20064572425982299</cx:pt>
          <cx:pt idx="1988">0.20064572425982299</cx:pt>
          <cx:pt idx="1989">0.20064572425982299</cx:pt>
          <cx:pt idx="1990">0.20064572425982299</cx:pt>
          <cx:pt idx="1991">0.20064572425982299</cx:pt>
          <cx:pt idx="1992">0.20064572425982299</cx:pt>
          <cx:pt idx="1993">0.20064572425982299</cx:pt>
          <cx:pt idx="1994">0.20064572425982299</cx:pt>
          <cx:pt idx="1995">0.20064572425982299</cx:pt>
          <cx:pt idx="1996">0.20064572425982299</cx:pt>
          <cx:pt idx="1997">0.20064572425982299</cx:pt>
          <cx:pt idx="1998">0.20064572425982299</cx:pt>
          <cx:pt idx="1999">0.20064572425982299</cx:pt>
          <cx:pt idx="2000">0.20064572425982299</cx:pt>
          <cx:pt idx="2001">0.20064572425982299</cx:pt>
          <cx:pt idx="2002">0.20064572425982299</cx:pt>
          <cx:pt idx="2003">0.20064572425982299</cx:pt>
          <cx:pt idx="2004">0.20064572425982299</cx:pt>
          <cx:pt idx="2005">0.20064572425982299</cx:pt>
          <cx:pt idx="2006">0.20064572425982299</cx:pt>
          <cx:pt idx="2007">0.20064572425982299</cx:pt>
          <cx:pt idx="2008">0.20064572425982299</cx:pt>
          <cx:pt idx="2009">0.20064572425982299</cx:pt>
          <cx:pt idx="2010">0.20064572425982299</cx:pt>
          <cx:pt idx="2011">0.20064572425982299</cx:pt>
          <cx:pt idx="2012">0.20064572425982299</cx:pt>
          <cx:pt idx="2013">0.20064572425982299</cx:pt>
          <cx:pt idx="2014">0.20064572425982299</cx:pt>
          <cx:pt idx="2015">0.20064572425982299</cx:pt>
          <cx:pt idx="2016">0.20064572425982299</cx:pt>
          <cx:pt idx="2017">0.20064572425982299</cx:pt>
          <cx:pt idx="2018">0.20064572425982299</cx:pt>
          <cx:pt idx="2019">0.20064572425982299</cx:pt>
          <cx:pt idx="2020">0.20064572425982299</cx:pt>
          <cx:pt idx="2021">0.20064572425982299</cx:pt>
          <cx:pt idx="2022">0.20064572425982299</cx:pt>
          <cx:pt idx="2023">0.20064572425982299</cx:pt>
          <cx:pt idx="2024">0.20064572425982299</cx:pt>
          <cx:pt idx="2025">0.20064572425982299</cx:pt>
          <cx:pt idx="2026">0.20064572425982299</cx:pt>
          <cx:pt idx="2027">0.20064572425982299</cx:pt>
          <cx:pt idx="2028">0.20064572425982299</cx:pt>
          <cx:pt idx="2029">0.20064572425982299</cx:pt>
          <cx:pt idx="2030">0.20064572425982299</cx:pt>
          <cx:pt idx="2031">0.20064572425982299</cx:pt>
          <cx:pt idx="2032">0.20064572425982299</cx:pt>
          <cx:pt idx="2033">0.20064572425982299</cx:pt>
          <cx:pt idx="2034">0.20064572425982299</cx:pt>
          <cx:pt idx="2035">0.20064572425982299</cx:pt>
          <cx:pt idx="2036">0.20064572425982299</cx:pt>
          <cx:pt idx="2037">0.20064572425982299</cx:pt>
          <cx:pt idx="2038">0.20064572425982299</cx:pt>
          <cx:pt idx="2039">0.20064572425982299</cx:pt>
          <cx:pt idx="2040">0.20064572425982299</cx:pt>
          <cx:pt idx="2041">0.20064572425982299</cx:pt>
          <cx:pt idx="2042">0.20064572425982299</cx:pt>
          <cx:pt idx="2043">0.20064572425982299</cx:pt>
          <cx:pt idx="2044">0.20064572425982299</cx:pt>
          <cx:pt idx="2045">0.20064572425982299</cx:pt>
          <cx:pt idx="2046">0.20064572425982299</cx:pt>
          <cx:pt idx="2047">0.20064572425982299</cx:pt>
          <cx:pt idx="2048">0.20064572425982299</cx:pt>
          <cx:pt idx="2049">0.20064572425982299</cx:pt>
          <cx:pt idx="2050">0.20064572425982299</cx:pt>
          <cx:pt idx="2051">0.20064572425982299</cx:pt>
          <cx:pt idx="2052">0.20064572425982299</cx:pt>
          <cx:pt idx="2053">0.20064572425982299</cx:pt>
          <cx:pt idx="2054">0.20064572425982299</cx:pt>
          <cx:pt idx="2055">0.20064572425982299</cx:pt>
          <cx:pt idx="2056">0.20064572425982299</cx:pt>
          <cx:pt idx="2057">0.20064572425982299</cx:pt>
          <cx:pt idx="2058">0.20064572425982299</cx:pt>
          <cx:pt idx="2059">0.20064572425982299</cx:pt>
          <cx:pt idx="2060">0.20064572425982299</cx:pt>
          <cx:pt idx="2061">0.20064572425982299</cx:pt>
          <cx:pt idx="2062">0.20064572425982299</cx:pt>
          <cx:pt idx="2063">0.20064572425982299</cx:pt>
          <cx:pt idx="2064">0.20064572425982299</cx:pt>
          <cx:pt idx="2065">0.20064572425982299</cx:pt>
          <cx:pt idx="2066">0.20064572425982299</cx:pt>
          <cx:pt idx="2067">0.20064572425982299</cx:pt>
          <cx:pt idx="2068">0.20064572425982299</cx:pt>
          <cx:pt idx="2069">0.20064572425982299</cx:pt>
          <cx:pt idx="2070">0.20064572425982299</cx:pt>
          <cx:pt idx="2071">0.20064572425982299</cx:pt>
          <cx:pt idx="2072">0.20064572425982299</cx:pt>
          <cx:pt idx="2073">0.20064572425982299</cx:pt>
          <cx:pt idx="2074">0.20064572425982299</cx:pt>
          <cx:pt idx="2075">0.20064572425982299</cx:pt>
          <cx:pt idx="2076">0.20064572425982299</cx:pt>
          <cx:pt idx="2077">0.20064572425982299</cx:pt>
          <cx:pt idx="2078">0.20064572425982299</cx:pt>
          <cx:pt idx="2079">0.20064572425982299</cx:pt>
          <cx:pt idx="2080">0.20064572425982299</cx:pt>
          <cx:pt idx="2081">0.20064572425982299</cx:pt>
          <cx:pt idx="2082">0.20064572425982299</cx:pt>
          <cx:pt idx="2083">0.20064572425982299</cx:pt>
          <cx:pt idx="2084">0.20064572425982299</cx:pt>
          <cx:pt idx="2085">0.20064572425982299</cx:pt>
          <cx:pt idx="2086">0.20064572425982299</cx:pt>
          <cx:pt idx="2087">0.20064572425982299</cx:pt>
          <cx:pt idx="2088">0.20064572425982299</cx:pt>
          <cx:pt idx="2089">0.20064572425982299</cx:pt>
          <cx:pt idx="2090">0.20064572425982299</cx:pt>
          <cx:pt idx="2091">0.20064572425982299</cx:pt>
          <cx:pt idx="2092">0.20064572425982299</cx:pt>
          <cx:pt idx="2093">0.20064572425982299</cx:pt>
          <cx:pt idx="2094">0.20064572425982299</cx:pt>
          <cx:pt idx="2095">0.20064572425982299</cx:pt>
          <cx:pt idx="2096">0.20064572425982299</cx:pt>
          <cx:pt idx="2097">0.20064572425982299</cx:pt>
          <cx:pt idx="2098">0.20064572425982299</cx:pt>
          <cx:pt idx="2099">0.20064572425982299</cx:pt>
          <cx:pt idx="2100">0.20064572425982299</cx:pt>
          <cx:pt idx="2101">0.20064572425982299</cx:pt>
          <cx:pt idx="2102">0.20064572425982299</cx:pt>
          <cx:pt idx="2103">0.20064572425982299</cx:pt>
          <cx:pt idx="2104">0.20064572425982299</cx:pt>
          <cx:pt idx="2105">0.20064572425982299</cx:pt>
          <cx:pt idx="2106">0.20064572425982299</cx:pt>
          <cx:pt idx="2107">0.20064572425982299</cx:pt>
          <cx:pt idx="2108">0.20064572425982299</cx:pt>
          <cx:pt idx="2109">0.20064572425982299</cx:pt>
          <cx:pt idx="2110">0.20064572425982299</cx:pt>
          <cx:pt idx="2111">0.20064572425982299</cx:pt>
          <cx:pt idx="2112">0.20064572425982299</cx:pt>
          <cx:pt idx="2113">0.20064572425982299</cx:pt>
          <cx:pt idx="2114">0.20064572425982299</cx:pt>
          <cx:pt idx="2115">0.20064572425982299</cx:pt>
          <cx:pt idx="2116">0.20064572425982299</cx:pt>
          <cx:pt idx="2117">0.20064572425982299</cx:pt>
          <cx:pt idx="2118">0.20064572425982299</cx:pt>
          <cx:pt idx="2119">0.20064572425982299</cx:pt>
          <cx:pt idx="2120">0.20064572425982299</cx:pt>
          <cx:pt idx="2121">0.20064572425982299</cx:pt>
          <cx:pt idx="2122">0.20064572425982299</cx:pt>
          <cx:pt idx="2123">0.20064572425982299</cx:pt>
          <cx:pt idx="2124">0.20064572425982299</cx:pt>
          <cx:pt idx="2125">0.20064572425982299</cx:pt>
          <cx:pt idx="2126">0.20064572425982299</cx:pt>
          <cx:pt idx="2127">0.20064572425982299</cx:pt>
          <cx:pt idx="2128">0.20064572425982299</cx:pt>
          <cx:pt idx="2129">0.20064572425982299</cx:pt>
          <cx:pt idx="2130">0.20064572425982299</cx:pt>
          <cx:pt idx="2131">0.20064572425982299</cx:pt>
          <cx:pt idx="2132">0.20064572425982299</cx:pt>
          <cx:pt idx="2133">0.20064572425982299</cx:pt>
          <cx:pt idx="2134">0.20064572425982299</cx:pt>
          <cx:pt idx="2135">0.20064572425982299</cx:pt>
          <cx:pt idx="2136">0.20064572425982299</cx:pt>
          <cx:pt idx="2137">0.20064572425982299</cx:pt>
          <cx:pt idx="2138">0.20064572425982299</cx:pt>
          <cx:pt idx="2139">0.20064572425982299</cx:pt>
          <cx:pt idx="2140">0.20064572425982299</cx:pt>
          <cx:pt idx="2141">0.20064572425982299</cx:pt>
          <cx:pt idx="2142">0.20064572425982299</cx:pt>
          <cx:pt idx="2143">0.20064572425982299</cx:pt>
          <cx:pt idx="2144">0.20064572425982299</cx:pt>
          <cx:pt idx="2145">0.20064572425982299</cx:pt>
          <cx:pt idx="2146">0.20064572425982299</cx:pt>
          <cx:pt idx="2147">0.20064572425982299</cx:pt>
          <cx:pt idx="2148">0.20064572425982299</cx:pt>
          <cx:pt idx="2149">0.20064572425982299</cx:pt>
          <cx:pt idx="2150">0.20064572425982299</cx:pt>
          <cx:pt idx="2151">0.20064572425982299</cx:pt>
          <cx:pt idx="2152">0.20064572425982299</cx:pt>
          <cx:pt idx="2153">0.20064572425982299</cx:pt>
          <cx:pt idx="2154">0.20064572425982299</cx:pt>
          <cx:pt idx="2155">0.20064572425982299</cx:pt>
          <cx:pt idx="2156">0.20064572425982299</cx:pt>
          <cx:pt idx="2157">0.20064572425982299</cx:pt>
          <cx:pt idx="2158">0.20064572425982299</cx:pt>
          <cx:pt idx="2159">0.20064572425982299</cx:pt>
          <cx:pt idx="2160">0.20064572425982299</cx:pt>
          <cx:pt idx="2161">0.20064572425982299</cx:pt>
          <cx:pt idx="2162">0.20064572425982299</cx:pt>
          <cx:pt idx="2163">0.20064572425982299</cx:pt>
          <cx:pt idx="2164">0.20064572425982299</cx:pt>
          <cx:pt idx="2165">0.20064572425982299</cx:pt>
          <cx:pt idx="2166">0.20064572425982299</cx:pt>
          <cx:pt idx="2167">0.20064572425982299</cx:pt>
          <cx:pt idx="2168">0.20064572425982299</cx:pt>
          <cx:pt idx="2169">0.20064572425982299</cx:pt>
          <cx:pt idx="2170">0.20064572425982299</cx:pt>
          <cx:pt idx="2171">0.20064572425982299</cx:pt>
          <cx:pt idx="2172">0.20064572425982299</cx:pt>
          <cx:pt idx="2173">0.20064572425982299</cx:pt>
          <cx:pt idx="2174">0.20064572425982299</cx:pt>
          <cx:pt idx="2175">0.20064572425982299</cx:pt>
          <cx:pt idx="2176">0.20064572425982299</cx:pt>
          <cx:pt idx="2177">0.20064572425982299</cx:pt>
          <cx:pt idx="2178">0.20064572425982299</cx:pt>
          <cx:pt idx="2179">0.20064572425982299</cx:pt>
          <cx:pt idx="2180">0.20064572425982299</cx:pt>
          <cx:pt idx="2181">0.20064572425982299</cx:pt>
          <cx:pt idx="2182">0.20064572425982299</cx:pt>
          <cx:pt idx="2183">0.20064572425982299</cx:pt>
          <cx:pt idx="2184">0.20064572425982299</cx:pt>
          <cx:pt idx="2185">0.20064572425982299</cx:pt>
          <cx:pt idx="2186">0.20064572425982299</cx:pt>
          <cx:pt idx="2187">0.20064572425982299</cx:pt>
          <cx:pt idx="2188">0.20064572425982299</cx:pt>
          <cx:pt idx="2189">0.20064572425982299</cx:pt>
          <cx:pt idx="2190">0.20064572425982299</cx:pt>
          <cx:pt idx="2191">0.20064572425982299</cx:pt>
          <cx:pt idx="2192">0.20064572425982299</cx:pt>
          <cx:pt idx="2193">0.20064572425982299</cx:pt>
          <cx:pt idx="2194">0.20064572425982299</cx:pt>
          <cx:pt idx="2195">0.20064572425982299</cx:pt>
          <cx:pt idx="2196">0.20064572425982299</cx:pt>
          <cx:pt idx="2197">0.20064572425982299</cx:pt>
          <cx:pt idx="2198">0.20064572425982299</cx:pt>
          <cx:pt idx="2199">0.20064572425982299</cx:pt>
          <cx:pt idx="2200">0.20064572425982299</cx:pt>
          <cx:pt idx="2201">0.20064572425982299</cx:pt>
          <cx:pt idx="2202">0.20064572425982299</cx:pt>
          <cx:pt idx="2203">0.20064572425982299</cx:pt>
          <cx:pt idx="2204">0.20064572425982299</cx:pt>
          <cx:pt idx="2205">0.20064572425982299</cx:pt>
          <cx:pt idx="2206">0.20064572425982299</cx:pt>
          <cx:pt idx="2207">0.20064572425982299</cx:pt>
          <cx:pt idx="2208">0.20064572425982299</cx:pt>
          <cx:pt idx="2209">0.20064572425982299</cx:pt>
          <cx:pt idx="2210">0.20064572425982299</cx:pt>
          <cx:pt idx="2211">0.20064572425982299</cx:pt>
          <cx:pt idx="2212">0.20064572425982299</cx:pt>
          <cx:pt idx="2213">0.20064572425982299</cx:pt>
          <cx:pt idx="2214">0.20064572425982299</cx:pt>
          <cx:pt idx="2215">0.20064572425982299</cx:pt>
          <cx:pt idx="2216">0.20064572425982299</cx:pt>
          <cx:pt idx="2217">0.20064572425982299</cx:pt>
          <cx:pt idx="2218">0.20064572425982299</cx:pt>
          <cx:pt idx="2219">0.20064572425982299</cx:pt>
          <cx:pt idx="2220">0.20064572425982299</cx:pt>
          <cx:pt idx="2221">0.20064572425982299</cx:pt>
          <cx:pt idx="2222">0.20064572425982299</cx:pt>
          <cx:pt idx="2223">0.20064572425982299</cx:pt>
          <cx:pt idx="2224">0.20064572425982299</cx:pt>
          <cx:pt idx="2225">0.20064572425982299</cx:pt>
          <cx:pt idx="2226">0.20064572425982299</cx:pt>
          <cx:pt idx="2227">0.20064572425982299</cx:pt>
          <cx:pt idx="2228">0.20064572425982299</cx:pt>
          <cx:pt idx="2229">0.20064572425982299</cx:pt>
          <cx:pt idx="2230">0.20064572425982299</cx:pt>
          <cx:pt idx="2231">0.20064572425982299</cx:pt>
          <cx:pt idx="2232">0.20064572425982299</cx:pt>
          <cx:pt idx="2233">0.20064572425982299</cx:pt>
          <cx:pt idx="2234">0.20064572425982299</cx:pt>
          <cx:pt idx="2235">0.20064572425982299</cx:pt>
          <cx:pt idx="2236">0.20064572425982299</cx:pt>
          <cx:pt idx="2237">0.20064572425982299</cx:pt>
          <cx:pt idx="2238">0.20064572425982299</cx:pt>
          <cx:pt idx="2239">0.20064572425982299</cx:pt>
          <cx:pt idx="2240">0.20064572425982299</cx:pt>
          <cx:pt idx="2241">0.20064572425982299</cx:pt>
          <cx:pt idx="2242">0.20064572425982299</cx:pt>
          <cx:pt idx="2243">0.20064572425982299</cx:pt>
          <cx:pt idx="2244">0.20064572425982299</cx:pt>
          <cx:pt idx="2245">0.20064572425982299</cx:pt>
          <cx:pt idx="2246">0.20064572425982299</cx:pt>
          <cx:pt idx="2247">0.20064572425982299</cx:pt>
          <cx:pt idx="2248">0.20064572425982299</cx:pt>
          <cx:pt idx="2249">0.20064572425982299</cx:pt>
          <cx:pt idx="2250">0.20064572425982299</cx:pt>
          <cx:pt idx="2251">0.20064572425982299</cx:pt>
          <cx:pt idx="2252">0.20064572425982299</cx:pt>
          <cx:pt idx="2253">0.20064572425982299</cx:pt>
          <cx:pt idx="2254">0.20064572425982299</cx:pt>
          <cx:pt idx="2255">0.20064572425982299</cx:pt>
          <cx:pt idx="2256">0.20064572425982299</cx:pt>
          <cx:pt idx="2257">0.20064572425982299</cx:pt>
          <cx:pt idx="2258">0.20064572425982299</cx:pt>
          <cx:pt idx="2259">0.20064572425982299</cx:pt>
          <cx:pt idx="2260">0.20064572425982299</cx:pt>
          <cx:pt idx="2261">0.20064572425982299</cx:pt>
          <cx:pt idx="2262">0.20064572425982299</cx:pt>
          <cx:pt idx="2263">0.20064572425982299</cx:pt>
          <cx:pt idx="2264">0.20064572425982299</cx:pt>
          <cx:pt idx="2265">0.20064572425982299</cx:pt>
          <cx:pt idx="2266">0.20064572425982299</cx:pt>
          <cx:pt idx="2267">0.20064572425982299</cx:pt>
          <cx:pt idx="2268">0.20064572425982299</cx:pt>
          <cx:pt idx="2269">0.20064572425982299</cx:pt>
          <cx:pt idx="2270">0.20064572425982299</cx:pt>
          <cx:pt idx="2271">0.20064572425982299</cx:pt>
          <cx:pt idx="2272">0.20064572425982299</cx:pt>
          <cx:pt idx="2273">0.20064572425982299</cx:pt>
          <cx:pt idx="2274">0.20064572425982299</cx:pt>
          <cx:pt idx="2275">0.20064572425982299</cx:pt>
          <cx:pt idx="2276">0.20064572425982299</cx:pt>
          <cx:pt idx="2277">0.20064572425982299</cx:pt>
          <cx:pt idx="2278">0.20064572425982299</cx:pt>
          <cx:pt idx="2279">0.20064572425982299</cx:pt>
          <cx:pt idx="2280">0.20064572425982299</cx:pt>
          <cx:pt idx="2281">0.20064572425982299</cx:pt>
          <cx:pt idx="2282">0.20064572425982299</cx:pt>
          <cx:pt idx="2283">0.20064572425982299</cx:pt>
          <cx:pt idx="2284">0.20064572425982299</cx:pt>
          <cx:pt idx="2285">0.20064572425982299</cx:pt>
          <cx:pt idx="2286">0.20064572425982299</cx:pt>
          <cx:pt idx="2287">0.20064572425982299</cx:pt>
          <cx:pt idx="2288">0.20064572425982299</cx:pt>
          <cx:pt idx="2289">0.20064572425982299</cx:pt>
          <cx:pt idx="2290">0.20064572425982299</cx:pt>
          <cx:pt idx="2291">0.20064572425982299</cx:pt>
          <cx:pt idx="2292">0.20064572425982299</cx:pt>
          <cx:pt idx="2293">0.20064572425982299</cx:pt>
          <cx:pt idx="2294">0.20064572425982299</cx:pt>
          <cx:pt idx="2295">0.20064572425982299</cx:pt>
          <cx:pt idx="2296">0.20064572425982299</cx:pt>
          <cx:pt idx="2297">0.20064572425982299</cx:pt>
          <cx:pt idx="2298">0.20064572425982299</cx:pt>
          <cx:pt idx="2299">0.20064572425982299</cx:pt>
          <cx:pt idx="2300">0.20064572425982299</cx:pt>
          <cx:pt idx="2301">0.20064572425982299</cx:pt>
          <cx:pt idx="2302">0.20064572425982299</cx:pt>
          <cx:pt idx="2303">0.20064572425982299</cx:pt>
          <cx:pt idx="2304">0.20064572425982299</cx:pt>
          <cx:pt idx="2305">0.20064572425982299</cx:pt>
          <cx:pt idx="2306">0.20064572425982299</cx:pt>
          <cx:pt idx="2307">0.20064572425982299</cx:pt>
          <cx:pt idx="2308">0.20064572425982299</cx:pt>
          <cx:pt idx="2309">0.20064572425982299</cx:pt>
          <cx:pt idx="2310">0.20064572425982299</cx:pt>
          <cx:pt idx="2311">0.20064572425982299</cx:pt>
          <cx:pt idx="2312">0.20064572425982299</cx:pt>
          <cx:pt idx="2313">0.20064572425982299</cx:pt>
          <cx:pt idx="2314">0.20064572425982299</cx:pt>
          <cx:pt idx="2315">0.20064572425982299</cx:pt>
          <cx:pt idx="2316">0.20064572425982299</cx:pt>
          <cx:pt idx="2317">0.20064572425982299</cx:pt>
          <cx:pt idx="2318">0.20064572425982299</cx:pt>
          <cx:pt idx="2319">0.20064572425982299</cx:pt>
          <cx:pt idx="2320">0.20064572425982299</cx:pt>
          <cx:pt idx="2321">0.20064572425982299</cx:pt>
          <cx:pt idx="2322">0.20064572425982299</cx:pt>
          <cx:pt idx="2323">0.20064572425982299</cx:pt>
          <cx:pt idx="2324">0.20064572425982299</cx:pt>
          <cx:pt idx="2325">0.20064572425982299</cx:pt>
          <cx:pt idx="2326">0.20064572425982299</cx:pt>
          <cx:pt idx="2327">0.20064572425982299</cx:pt>
          <cx:pt idx="2328">0.20064572425982299</cx:pt>
          <cx:pt idx="2329">0.20064572425982299</cx:pt>
          <cx:pt idx="2330">0.20064572425982299</cx:pt>
          <cx:pt idx="2331">0.20064572425982299</cx:pt>
          <cx:pt idx="2332">0.20064572425982299</cx:pt>
          <cx:pt idx="2333">0.20064572425982299</cx:pt>
          <cx:pt idx="2334">0.20064572425982299</cx:pt>
          <cx:pt idx="2335">0.20064572425982299</cx:pt>
          <cx:pt idx="2336">0.20064572425982299</cx:pt>
          <cx:pt idx="2337">0.20064572425982299</cx:pt>
          <cx:pt idx="2338">0.20064572425982299</cx:pt>
          <cx:pt idx="2339">0.20064572425982299</cx:pt>
          <cx:pt idx="2340">0.20064572425982299</cx:pt>
          <cx:pt idx="2341">0.20064572425982299</cx:pt>
          <cx:pt idx="2342">0.20064572425982299</cx:pt>
          <cx:pt idx="2343">0.20064572425982299</cx:pt>
          <cx:pt idx="2344">0.20064572425982299</cx:pt>
          <cx:pt idx="2345">0.20064572425982299</cx:pt>
          <cx:pt idx="2346">0.20064572425982299</cx:pt>
          <cx:pt idx="2347">0.20064572425982299</cx:pt>
          <cx:pt idx="2348">0.20064572425982299</cx:pt>
          <cx:pt idx="2349">0.20064572425982299</cx:pt>
          <cx:pt idx="2350">0.20064572425982299</cx:pt>
          <cx:pt idx="2351">0.20064572425982299</cx:pt>
          <cx:pt idx="2352">0.20064572425982299</cx:pt>
          <cx:pt idx="2353">0.20064572425982299</cx:pt>
          <cx:pt idx="2354">0.20064572425982299</cx:pt>
          <cx:pt idx="2355">0.20064572425982299</cx:pt>
          <cx:pt idx="2356">0.20064572425982299</cx:pt>
          <cx:pt idx="2357">0.20064572425982299</cx:pt>
          <cx:pt idx="2358">0.20064572425982299</cx:pt>
          <cx:pt idx="2359">0.20064572425982299</cx:pt>
          <cx:pt idx="2360">0.20064572425982299</cx:pt>
          <cx:pt idx="2361">0.20064572425982299</cx:pt>
          <cx:pt idx="2362">0.20064572425982299</cx:pt>
          <cx:pt idx="2363">0.20064572425982299</cx:pt>
          <cx:pt idx="2364">0.20064572425982299</cx:pt>
          <cx:pt idx="2365">0.20064572425982299</cx:pt>
          <cx:pt idx="2366">0.20064572425982299</cx:pt>
          <cx:pt idx="2367">0.20064572425982299</cx:pt>
          <cx:pt idx="2368">0.20064572425982299</cx:pt>
          <cx:pt idx="2369">0.20064572425982299</cx:pt>
          <cx:pt idx="2370">0.20064572425982299</cx:pt>
          <cx:pt idx="2371">0.20064572425982299</cx:pt>
          <cx:pt idx="2372">0.20064572425982299</cx:pt>
          <cx:pt idx="2373">0.20064572425982299</cx:pt>
          <cx:pt idx="2374">0.20064572425982299</cx:pt>
          <cx:pt idx="2375">0.20064572425982299</cx:pt>
          <cx:pt idx="2376">0.20064572425982299</cx:pt>
          <cx:pt idx="2377">0.20064572425982299</cx:pt>
          <cx:pt idx="2378">0.20064572425982299</cx:pt>
          <cx:pt idx="2379">0.20064572425982299</cx:pt>
          <cx:pt idx="2380">0.20064572425982299</cx:pt>
          <cx:pt idx="2381">0.20064572425982299</cx:pt>
          <cx:pt idx="2382">0.20064572425982299</cx:pt>
          <cx:pt idx="2383">0.20064572425982299</cx:pt>
          <cx:pt idx="2384">0.20064572425982299</cx:pt>
          <cx:pt idx="2385">0.20064572425982299</cx:pt>
          <cx:pt idx="2386">0.20064572425982299</cx:pt>
          <cx:pt idx="2387">0.20064572425982299</cx:pt>
          <cx:pt idx="2388">0.20064572425982299</cx:pt>
          <cx:pt idx="2389">0.20064572425982299</cx:pt>
          <cx:pt idx="2390">0.20064572425982299</cx:pt>
          <cx:pt idx="2391">0.20064572425982299</cx:pt>
          <cx:pt idx="2392">0.20064572425982299</cx:pt>
          <cx:pt idx="2393">0.20064572425982299</cx:pt>
          <cx:pt idx="2394">0.20064572425982299</cx:pt>
          <cx:pt idx="2395">0.20064572425982299</cx:pt>
          <cx:pt idx="2396">0.20064572425982299</cx:pt>
          <cx:pt idx="2397">0.20064572425982299</cx:pt>
          <cx:pt idx="2398">0.20064572425982299</cx:pt>
          <cx:pt idx="2399">0.20064572425982299</cx:pt>
          <cx:pt idx="2400">0.20064572425982299</cx:pt>
          <cx:pt idx="2401">0.20064572425982299</cx:pt>
          <cx:pt idx="2402">0.20064572425982299</cx:pt>
          <cx:pt idx="2403">0.20064572425982299</cx:pt>
          <cx:pt idx="2404">0.20064572425982299</cx:pt>
          <cx:pt idx="2405">0.20064572425982299</cx:pt>
          <cx:pt idx="2406">0.20064572425982299</cx:pt>
          <cx:pt idx="2407">0.20064572425982299</cx:pt>
          <cx:pt idx="2408">0.20064572425982299</cx:pt>
          <cx:pt idx="2409">0.20064572425982299</cx:pt>
          <cx:pt idx="2410">0.20064572425982299</cx:pt>
          <cx:pt idx="2411">0.20064572425982299</cx:pt>
          <cx:pt idx="2412">0.20064572425982299</cx:pt>
          <cx:pt idx="2413">0.20064572425982299</cx:pt>
          <cx:pt idx="2414">0.20064572425982299</cx:pt>
          <cx:pt idx="2415">0.20064572425982299</cx:pt>
          <cx:pt idx="2416">0.20064572425982299</cx:pt>
          <cx:pt idx="2417">0.20064572425982299</cx:pt>
          <cx:pt idx="2418">0.20064572425982299</cx:pt>
          <cx:pt idx="2419">0.20064572425982299</cx:pt>
          <cx:pt idx="2420">0.20064572425982299</cx:pt>
          <cx:pt idx="2421">0.20064572425982299</cx:pt>
          <cx:pt idx="2422">0.20064572425982299</cx:pt>
          <cx:pt idx="2423">0.20064572425982299</cx:pt>
          <cx:pt idx="2424">0.20064572425982299</cx:pt>
          <cx:pt idx="2425">0.20064572425982299</cx:pt>
          <cx:pt idx="2426">0.20064572425982299</cx:pt>
          <cx:pt idx="2427">0.20064572425982299</cx:pt>
          <cx:pt idx="2428">0.20064572425982299</cx:pt>
          <cx:pt idx="2429">0.20064572425982299</cx:pt>
          <cx:pt idx="2430">0.20064572425982299</cx:pt>
          <cx:pt idx="2431">0.20064572425982299</cx:pt>
          <cx:pt idx="2432">0.20064572425982299</cx:pt>
          <cx:pt idx="2433">0.20064572425982299</cx:pt>
          <cx:pt idx="2434">0.20064572425982299</cx:pt>
          <cx:pt idx="2435">0.20064572425982299</cx:pt>
          <cx:pt idx="2436">0.20064572425982299</cx:pt>
          <cx:pt idx="2437">0.20064572425982299</cx:pt>
          <cx:pt idx="2438">0.20064572425982299</cx:pt>
          <cx:pt idx="2439">0.20064572425982299</cx:pt>
          <cx:pt idx="2440">0.20064572425982299</cx:pt>
          <cx:pt idx="2441">0.20064572425982299</cx:pt>
          <cx:pt idx="2442">0.20064572425982299</cx:pt>
          <cx:pt idx="2443">0.20064572425982299</cx:pt>
          <cx:pt idx="2444">0.20064572425982299</cx:pt>
          <cx:pt idx="2445">0.20064572425982299</cx:pt>
          <cx:pt idx="2446">0.20064572425982299</cx:pt>
          <cx:pt idx="2447">0.20064572425982299</cx:pt>
          <cx:pt idx="2448">0.20064572425982299</cx:pt>
          <cx:pt idx="2449">0.20064572425982299</cx:pt>
          <cx:pt idx="2450">0.20064572425982299</cx:pt>
          <cx:pt idx="2451">0.20064572425982299</cx:pt>
          <cx:pt idx="2452">0.20064572425982299</cx:pt>
          <cx:pt idx="2453">0.20064572425982299</cx:pt>
          <cx:pt idx="2454">0.20064572425982299</cx:pt>
          <cx:pt idx="2455">0.20064572425982299</cx:pt>
          <cx:pt idx="2456">0.20064572425982299</cx:pt>
          <cx:pt idx="2457">0.20064572425982299</cx:pt>
          <cx:pt idx="2458">0.20064572425982299</cx:pt>
          <cx:pt idx="2459">0.20064572425982299</cx:pt>
          <cx:pt idx="2460">0.20064572425982299</cx:pt>
          <cx:pt idx="2461">0.20064572425982299</cx:pt>
          <cx:pt idx="2462">0.20064572425982299</cx:pt>
          <cx:pt idx="2463">0.20064572425982299</cx:pt>
          <cx:pt idx="2464">0.20064572425982299</cx:pt>
          <cx:pt idx="2465">0.20064572425982299</cx:pt>
          <cx:pt idx="2466">0.20064572425982299</cx:pt>
          <cx:pt idx="2467">0.20064572425982299</cx:pt>
          <cx:pt idx="2468">0.20064572425982299</cx:pt>
          <cx:pt idx="2469">0.20064572425982299</cx:pt>
          <cx:pt idx="2470">0.20064572425982299</cx:pt>
          <cx:pt idx="2471">0.20064572425982299</cx:pt>
          <cx:pt idx="2472">0.20064572425982299</cx:pt>
          <cx:pt idx="2473">0.20064572425982299</cx:pt>
          <cx:pt idx="2474">0.20064572425982299</cx:pt>
          <cx:pt idx="2475">0.20064572425982299</cx:pt>
          <cx:pt idx="2476">0.20064572425982299</cx:pt>
          <cx:pt idx="2477">0.20064572425982299</cx:pt>
          <cx:pt idx="2478">0.20064572425982299</cx:pt>
          <cx:pt idx="2479">0.20064572425982299</cx:pt>
          <cx:pt idx="2480">0.20064572425982299</cx:pt>
          <cx:pt idx="2481">0.20064572425982299</cx:pt>
          <cx:pt idx="2482">0.20064572425982299</cx:pt>
          <cx:pt idx="2483">0.20064572425982299</cx:pt>
          <cx:pt idx="2484">0.20064572425982299</cx:pt>
          <cx:pt idx="2485">0.20064572425982299</cx:pt>
          <cx:pt idx="2486">0.20064572425982299</cx:pt>
          <cx:pt idx="2487">0.20064572425982299</cx:pt>
          <cx:pt idx="2488">0.20064572425982299</cx:pt>
          <cx:pt idx="2489">0.20064572425982299</cx:pt>
          <cx:pt idx="2490">0.20064572425982299</cx:pt>
          <cx:pt idx="2491">0.20064572425982299</cx:pt>
          <cx:pt idx="2492">0.20064572425982299</cx:pt>
          <cx:pt idx="2493">0.20064572425982299</cx:pt>
          <cx:pt idx="2494">0.20064572425982299</cx:pt>
          <cx:pt idx="2495">0.20064572425982299</cx:pt>
          <cx:pt idx="2496">0.20064572425982299</cx:pt>
          <cx:pt idx="2497">0.20064572425982299</cx:pt>
          <cx:pt idx="2498">0.20064572425982299</cx:pt>
          <cx:pt idx="2499">0.20064572425982299</cx:pt>
          <cx:pt idx="2500">0.20064572425982299</cx:pt>
          <cx:pt idx="2501">0.20064572425982299</cx:pt>
          <cx:pt idx="2502">0.20064572425982299</cx:pt>
          <cx:pt idx="2503">0.20064572425982299</cx:pt>
          <cx:pt idx="2504">0.20064572425982299</cx:pt>
          <cx:pt idx="2505">0.20064572425982299</cx:pt>
          <cx:pt idx="2506">0.20064572425982299</cx:pt>
          <cx:pt idx="2507">0.20064572425982299</cx:pt>
          <cx:pt idx="2508">0.20064572425982299</cx:pt>
          <cx:pt idx="2509">0.20064572425982299</cx:pt>
          <cx:pt idx="2510">0.20064572425982299</cx:pt>
          <cx:pt idx="2511">0.20064572425982299</cx:pt>
          <cx:pt idx="2512">0.20064572425982299</cx:pt>
          <cx:pt idx="2513">0.20064572425982299</cx:pt>
          <cx:pt idx="2514">0.20064572425982299</cx:pt>
          <cx:pt idx="2515">0.20064572425982299</cx:pt>
          <cx:pt idx="2516">0.20064572425982299</cx:pt>
          <cx:pt idx="2517">0.20064572425982299</cx:pt>
          <cx:pt idx="2518">0.20064572425982299</cx:pt>
          <cx:pt idx="2519">0.20064572425982299</cx:pt>
          <cx:pt idx="2520">0.20064572425982299</cx:pt>
          <cx:pt idx="2521">0.20064572425982299</cx:pt>
          <cx:pt idx="2522">0.20064572425982299</cx:pt>
          <cx:pt idx="2523">0.20064572425982299</cx:pt>
          <cx:pt idx="2524">0.20064572425982299</cx:pt>
          <cx:pt idx="2525">0.20064572425982299</cx:pt>
          <cx:pt idx="2526">0.20064572425982299</cx:pt>
          <cx:pt idx="2527">0.20064572425982299</cx:pt>
          <cx:pt idx="2528">0.20064572425982299</cx:pt>
          <cx:pt idx="2529">0.20064572425982299</cx:pt>
          <cx:pt idx="2530">0.20064572425982299</cx:pt>
          <cx:pt idx="2531">0.20064572425982299</cx:pt>
          <cx:pt idx="2532">0.20064572425982299</cx:pt>
          <cx:pt idx="2533">0.20064572425982299</cx:pt>
          <cx:pt idx="2534">0.20064572425982299</cx:pt>
          <cx:pt idx="2535">0.20064572425982299</cx:pt>
          <cx:pt idx="2536">0.20064572425982299</cx:pt>
          <cx:pt idx="2537">0.20064572425982299</cx:pt>
          <cx:pt idx="2538">0.20064572425982299</cx:pt>
          <cx:pt idx="2539">0.20064572425982299</cx:pt>
          <cx:pt idx="2540">0.20064572425982299</cx:pt>
          <cx:pt idx="2541">0.20064572425982299</cx:pt>
          <cx:pt idx="2542">0.20064572425982299</cx:pt>
          <cx:pt idx="2543">0.20064572425982299</cx:pt>
          <cx:pt idx="2544">0.20064572425982299</cx:pt>
          <cx:pt idx="2545">0.20064572425982299</cx:pt>
          <cx:pt idx="2546">0.20064572425982299</cx:pt>
          <cx:pt idx="2547">0.20064572425982299</cx:pt>
          <cx:pt idx="2548">0.20064572425982299</cx:pt>
          <cx:pt idx="2549">0.20064572425982299</cx:pt>
          <cx:pt idx="2550">0.20064572425982299</cx:pt>
          <cx:pt idx="2551">0.20064572425982299</cx:pt>
          <cx:pt idx="2552">0.20064572425982299</cx:pt>
          <cx:pt idx="2553">0.20064572425982299</cx:pt>
          <cx:pt idx="2554">0.20064572425982299</cx:pt>
          <cx:pt idx="2555">0.20064572425982299</cx:pt>
          <cx:pt idx="2556">0.20064572425982299</cx:pt>
          <cx:pt idx="2557">0.20064572425982299</cx:pt>
          <cx:pt idx="2558">0.20064572425982299</cx:pt>
          <cx:pt idx="2559">0.20064572425982299</cx:pt>
          <cx:pt idx="2560">0.20064572425982299</cx:pt>
          <cx:pt idx="2561">0.20064572425982299</cx:pt>
          <cx:pt idx="2562">0.20064572425982299</cx:pt>
          <cx:pt idx="2563">0.20064572425982299</cx:pt>
          <cx:pt idx="2564">0.20064572425982299</cx:pt>
          <cx:pt idx="2565">0.20064572425982299</cx:pt>
          <cx:pt idx="2566">0.20064572425982299</cx:pt>
          <cx:pt idx="2567">0.20064572425982299</cx:pt>
          <cx:pt idx="2568">0.20064572425982299</cx:pt>
          <cx:pt idx="2569">0.20064572425982299</cx:pt>
          <cx:pt idx="2570">0.20064572425982299</cx:pt>
          <cx:pt idx="2571">0.20064572425982299</cx:pt>
          <cx:pt idx="2572">0.20064572425982299</cx:pt>
          <cx:pt idx="2573">0.20064572425982299</cx:pt>
          <cx:pt idx="2574">0.20064572425982299</cx:pt>
          <cx:pt idx="2575">0.20064572425982299</cx:pt>
          <cx:pt idx="2576">0.20064572425982299</cx:pt>
          <cx:pt idx="2577">0.20064572425982299</cx:pt>
          <cx:pt idx="2578">0.20064572425982299</cx:pt>
          <cx:pt idx="2579">0.20064572425982299</cx:pt>
          <cx:pt idx="2580">0.20064572425982299</cx:pt>
          <cx:pt idx="2581">0.20064572425982299</cx:pt>
          <cx:pt idx="2582">0.20064572425982299</cx:pt>
          <cx:pt idx="2583">0.20064572425982299</cx:pt>
          <cx:pt idx="2584">0.20064572425982299</cx:pt>
          <cx:pt idx="2585">0.20064572425982299</cx:pt>
          <cx:pt idx="2586">0.20064572425982299</cx:pt>
          <cx:pt idx="2587">0.20064572425982299</cx:pt>
          <cx:pt idx="2588">0.20064572425982299</cx:pt>
          <cx:pt idx="2589">0.20064572425982299</cx:pt>
          <cx:pt idx="2590">0.20064572425982299</cx:pt>
          <cx:pt idx="2591">0.20064572425982299</cx:pt>
          <cx:pt idx="2592">0.20064572425982299</cx:pt>
          <cx:pt idx="2593">0.20064572425982299</cx:pt>
          <cx:pt idx="2594">0.20064572425982299</cx:pt>
          <cx:pt idx="2595">0.20064572425982299</cx:pt>
          <cx:pt idx="2596">0.20064572425982299</cx:pt>
          <cx:pt idx="2597">0.20064572425982299</cx:pt>
          <cx:pt idx="2598">0.20064572425982299</cx:pt>
          <cx:pt idx="2599">0.20064572425982299</cx:pt>
          <cx:pt idx="2600">0.20064572425982299</cx:pt>
          <cx:pt idx="2601">0.20064572425982299</cx:pt>
          <cx:pt idx="2602">0.20064572425982299</cx:pt>
          <cx:pt idx="2603">0.17809477540733101</cx:pt>
          <cx:pt idx="2604">0.16943695648686899</cx:pt>
          <cx:pt idx="2605">0.13057387354519301</cx:pt>
          <cx:pt idx="2606">0.12322289850130901</cx:pt>
          <cx:pt idx="2607">0.092640493913809296</cx:pt>
          <cx:pt idx="2608">0.089702467437903097</cx:pt>
          <cx:pt idx="2609">0.089702467437903097</cx:pt>
          <cx:pt idx="2610">0.089702467437903097</cx:pt>
          <cx:pt idx="2611">0.089702467437903097</cx:pt>
          <cx:pt idx="2612">0.089702467437903097</cx:pt>
          <cx:pt idx="2613">0.049836211837587997</cx:pt>
          <cx:pt idx="2614">0.049836211837587997</cx:pt>
          <cx:pt idx="2615">0</cx:pt>
        </cx:lvl>
      </cx:numDim>
    </cx:data>
  </cx:chartData>
  <cx:chart>
    <cx:plotArea>
      <cx:plotAreaRegion>
        <cx:series layoutId="clusteredColumn" uniqueId="{9AED32BE-CDE7-49D9-BA15-78089B5DC4D2}">
          <cx:tx>
            <cx:txData>
              <cx:f>'1.'!$L$1</cx:f>
              <cx:v>最大回撤</cx:v>
            </cx:txData>
          </cx:tx>
          <cx:spPr>
            <a:solidFill>
              <a:srgbClr val="CEC4C8"/>
            </a:solidFill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700"/>
            </a:pPr>
            <a:endParaRPr lang="zh-CN" altLang="en-US" sz="700" b="0" i="0" u="none" strike="noStrike" kern="1200" baseline="0">
              <a:solidFill>
                <a:prstClr val="black"/>
              </a:solidFill>
              <a:latin typeface="Arial"/>
              <a:ea typeface="楷体_GB2312"/>
            </a:endParaRPr>
          </a:p>
        </cx:txPr>
      </cx:axis>
      <cx:axis id="1">
        <cx:valScaling/>
        <cx:tickLabels/>
      </cx:axis>
    </cx:plotArea>
  </cx:chart>
</cx:chartSpace>
</file>

<file path=ppt/charts/chartEx1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4.'!$AD$2:$AD$499</cx:f>
        <cx:lvl ptCount="498" formatCode="G/通用格式">
          <cx:pt idx="0">8</cx:pt>
          <cx:pt idx="1">28</cx:pt>
          <cx:pt idx="2">15</cx:pt>
          <cx:pt idx="3">58</cx:pt>
          <cx:pt idx="4">1</cx:pt>
          <cx:pt idx="5">44</cx:pt>
          <cx:pt idx="6">42</cx:pt>
          <cx:pt idx="7">29</cx:pt>
          <cx:pt idx="8">89</cx:pt>
          <cx:pt idx="9">1</cx:pt>
          <cx:pt idx="10">11</cx:pt>
          <cx:pt idx="11">1</cx:pt>
          <cx:pt idx="12">37</cx:pt>
          <cx:pt idx="13">95</cx:pt>
          <cx:pt idx="14">115</cx:pt>
          <cx:pt idx="15">68</cx:pt>
          <cx:pt idx="16">66</cx:pt>
          <cx:pt idx="17">31</cx:pt>
          <cx:pt idx="18">6</cx:pt>
          <cx:pt idx="19">83</cx:pt>
          <cx:pt idx="20">15</cx:pt>
          <cx:pt idx="21">35</cx:pt>
          <cx:pt idx="22">11</cx:pt>
          <cx:pt idx="23">18</cx:pt>
          <cx:pt idx="24">78</cx:pt>
          <cx:pt idx="25">8</cx:pt>
          <cx:pt idx="26">189</cx:pt>
          <cx:pt idx="27">6</cx:pt>
          <cx:pt idx="28">196</cx:pt>
          <cx:pt idx="29">46</cx:pt>
          <cx:pt idx="30">193</cx:pt>
          <cx:pt idx="31">9</cx:pt>
          <cx:pt idx="32">12</cx:pt>
          <cx:pt idx="33">4</cx:pt>
          <cx:pt idx="34">11</cx:pt>
          <cx:pt idx="35">173</cx:pt>
          <cx:pt idx="36">192</cx:pt>
          <cx:pt idx="37">1</cx:pt>
          <cx:pt idx="38">14</cx:pt>
          <cx:pt idx="39">2</cx:pt>
          <cx:pt idx="40">188</cx:pt>
          <cx:pt idx="41">249</cx:pt>
          <cx:pt idx="42">9</cx:pt>
          <cx:pt idx="43">13</cx:pt>
          <cx:pt idx="44">254</cx:pt>
          <cx:pt idx="45">6</cx:pt>
          <cx:pt idx="46">212</cx:pt>
          <cx:pt idx="47">78</cx:pt>
          <cx:pt idx="48">4</cx:pt>
          <cx:pt idx="49">8</cx:pt>
          <cx:pt idx="50">227</cx:pt>
          <cx:pt idx="51">79</cx:pt>
          <cx:pt idx="52">44</cx:pt>
          <cx:pt idx="53">44</cx:pt>
          <cx:pt idx="54">82</cx:pt>
          <cx:pt idx="55">7</cx:pt>
          <cx:pt idx="56">63</cx:pt>
          <cx:pt idx="57">8</cx:pt>
          <cx:pt idx="58">75</cx:pt>
          <cx:pt idx="59">89</cx:pt>
          <cx:pt idx="60">11</cx:pt>
          <cx:pt idx="61">58</cx:pt>
          <cx:pt idx="62">327</cx:pt>
          <cx:pt idx="63">120</cx:pt>
          <cx:pt idx="64">2</cx:pt>
          <cx:pt idx="65">56</cx:pt>
          <cx:pt idx="66">2</cx:pt>
          <cx:pt idx="67">44</cx:pt>
          <cx:pt idx="68">117</cx:pt>
          <cx:pt idx="69">3</cx:pt>
          <cx:pt idx="70">45</cx:pt>
          <cx:pt idx="71">6</cx:pt>
          <cx:pt idx="72">102</cx:pt>
          <cx:pt idx="73">14</cx:pt>
          <cx:pt idx="74">62</cx:pt>
          <cx:pt idx="75">7</cx:pt>
          <cx:pt idx="76">16</cx:pt>
          <cx:pt idx="77">21</cx:pt>
          <cx:pt idx="78">66</cx:pt>
          <cx:pt idx="79">71</cx:pt>
          <cx:pt idx="80">50</cx:pt>
          <cx:pt idx="81">75</cx:pt>
          <cx:pt idx="82">13</cx:pt>
          <cx:pt idx="83">68</cx:pt>
          <cx:pt idx="84">58</cx:pt>
          <cx:pt idx="85">37</cx:pt>
          <cx:pt idx="86">1</cx:pt>
          <cx:pt idx="87">5</cx:pt>
          <cx:pt idx="88">150</cx:pt>
          <cx:pt idx="89">43</cx:pt>
          <cx:pt idx="90">49</cx:pt>
          <cx:pt idx="91">104</cx:pt>
          <cx:pt idx="92">11</cx:pt>
          <cx:pt idx="93">43</cx:pt>
          <cx:pt idx="94">28</cx:pt>
          <cx:pt idx="95">6</cx:pt>
          <cx:pt idx="96">12</cx:pt>
          <cx:pt idx="97">46</cx:pt>
          <cx:pt idx="98">128</cx:pt>
          <cx:pt idx="99">127</cx:pt>
          <cx:pt idx="100">130</cx:pt>
          <cx:pt idx="101">11</cx:pt>
          <cx:pt idx="102">105</cx:pt>
          <cx:pt idx="103">14</cx:pt>
          <cx:pt idx="104">106</cx:pt>
          <cx:pt idx="105">92</cx:pt>
          <cx:pt idx="106">33</cx:pt>
          <cx:pt idx="107">52</cx:pt>
          <cx:pt idx="108">78</cx:pt>
          <cx:pt idx="109">67</cx:pt>
          <cx:pt idx="110">20</cx:pt>
          <cx:pt idx="111">8</cx:pt>
          <cx:pt idx="112">67</cx:pt>
          <cx:pt idx="113">122</cx:pt>
          <cx:pt idx="114">60</cx:pt>
          <cx:pt idx="115">23</cx:pt>
          <cx:pt idx="116">1</cx:pt>
          <cx:pt idx="117">182</cx:pt>
          <cx:pt idx="118">21</cx:pt>
          <cx:pt idx="119">6</cx:pt>
          <cx:pt idx="120">27</cx:pt>
          <cx:pt idx="121">193</cx:pt>
          <cx:pt idx="122">1</cx:pt>
          <cx:pt idx="123">1</cx:pt>
          <cx:pt idx="124">219</cx:pt>
          <cx:pt idx="125">18</cx:pt>
          <cx:pt idx="126">6</cx:pt>
          <cx:pt idx="127">50</cx:pt>
          <cx:pt idx="128">164</cx:pt>
          <cx:pt idx="129">47</cx:pt>
          <cx:pt idx="130">119</cx:pt>
          <cx:pt idx="131">55</cx:pt>
          <cx:pt idx="132">130</cx:pt>
          <cx:pt idx="133">89</cx:pt>
          <cx:pt idx="134">121</cx:pt>
          <cx:pt idx="135">130</cx:pt>
          <cx:pt idx="136">169</cx:pt>
          <cx:pt idx="137">216</cx:pt>
          <cx:pt idx="138">266</cx:pt>
          <cx:pt idx="139">210</cx:pt>
          <cx:pt idx="140">6</cx:pt>
          <cx:pt idx="141">220</cx:pt>
          <cx:pt idx="142">89</cx:pt>
          <cx:pt idx="143">6</cx:pt>
          <cx:pt idx="144">296</cx:pt>
          <cx:pt idx="145">399</cx:pt>
          <cx:pt idx="146">421</cx:pt>
          <cx:pt idx="147">433</cx:pt>
          <cx:pt idx="148">305</cx:pt>
          <cx:pt idx="149">311</cx:pt>
          <cx:pt idx="150">315</cx:pt>
          <cx:pt idx="151">13</cx:pt>
          <cx:pt idx="152">434</cx:pt>
          <cx:pt idx="153">311</cx:pt>
          <cx:pt idx="154">3</cx:pt>
          <cx:pt idx="155">337</cx:pt>
          <cx:pt idx="156">368</cx:pt>
          <cx:pt idx="157">3</cx:pt>
          <cx:pt idx="158">7</cx:pt>
          <cx:pt idx="159">17</cx:pt>
          <cx:pt idx="160">426</cx:pt>
          <cx:pt idx="161">32</cx:pt>
          <cx:pt idx="162">14</cx:pt>
          <cx:pt idx="163">26</cx:pt>
          <cx:pt idx="164">33</cx:pt>
          <cx:pt idx="165">448</cx:pt>
          <cx:pt idx="166">434</cx:pt>
          <cx:pt idx="167">2</cx:pt>
          <cx:pt idx="168">12</cx:pt>
          <cx:pt idx="169">677</cx:pt>
          <cx:pt idx="170">419</cx:pt>
          <cx:pt idx="171">346</cx:pt>
          <cx:pt idx="172">424</cx:pt>
          <cx:pt idx="173">434</cx:pt>
          <cx:pt idx="174">422</cx:pt>
          <cx:pt idx="175">490</cx:pt>
          <cx:pt idx="176">670</cx:pt>
          <cx:pt idx="177">649</cx:pt>
          <cx:pt idx="178">552</cx:pt>
          <cx:pt idx="179">654</cx:pt>
          <cx:pt idx="180">625</cx:pt>
          <cx:pt idx="181">648</cx:pt>
          <cx:pt idx="182">572</cx:pt>
          <cx:pt idx="183">529</cx:pt>
          <cx:pt idx="184">565</cx:pt>
          <cx:pt idx="185">8</cx:pt>
          <cx:pt idx="186">538</cx:pt>
          <cx:pt idx="187">542</cx:pt>
          <cx:pt idx="188">5</cx:pt>
          <cx:pt idx="189">573</cx:pt>
          <cx:pt idx="190">644</cx:pt>
          <cx:pt idx="191">12</cx:pt>
          <cx:pt idx="192">697</cx:pt>
          <cx:pt idx="193">553</cx:pt>
          <cx:pt idx="194">562</cx:pt>
          <cx:pt idx="195">646</cx:pt>
          <cx:pt idx="196">18</cx:pt>
          <cx:pt idx="197">735</cx:pt>
          <cx:pt idx="198">18</cx:pt>
          <cx:pt idx="199">646</cx:pt>
          <cx:pt idx="200">620</cx:pt>
          <cx:pt idx="201">649</cx:pt>
          <cx:pt idx="202">2</cx:pt>
          <cx:pt idx="203">671</cx:pt>
          <cx:pt idx="204">9</cx:pt>
          <cx:pt idx="205">661</cx:pt>
          <cx:pt idx="206">16</cx:pt>
          <cx:pt idx="207">1</cx:pt>
          <cx:pt idx="208">61</cx:pt>
          <cx:pt idx="209">2</cx:pt>
          <cx:pt idx="210">2</cx:pt>
          <cx:pt idx="211">81</cx:pt>
          <cx:pt idx="212">23</cx:pt>
          <cx:pt idx="213">65</cx:pt>
          <cx:pt idx="214">2</cx:pt>
          <cx:pt idx="215">69</cx:pt>
          <cx:pt idx="216">29</cx:pt>
          <cx:pt idx="217">4</cx:pt>
          <cx:pt idx="218">2</cx:pt>
          <cx:pt idx="219">96</cx:pt>
          <cx:pt idx="220">101</cx:pt>
          <cx:pt idx="221">94</cx:pt>
          <cx:pt idx="222">95</cx:pt>
          <cx:pt idx="223">170</cx:pt>
          <cx:pt idx="224">105</cx:pt>
          <cx:pt idx="225">15</cx:pt>
          <cx:pt idx="226">121</cx:pt>
          <cx:pt idx="227">25</cx:pt>
          <cx:pt idx="228">153</cx:pt>
          <cx:pt idx="229">17</cx:pt>
          <cx:pt idx="230">112</cx:pt>
          <cx:pt idx="231">47</cx:pt>
          <cx:pt idx="232">69</cx:pt>
          <cx:pt idx="233">180</cx:pt>
          <cx:pt idx="234">59</cx:pt>
          <cx:pt idx="235">23</cx:pt>
          <cx:pt idx="236">32</cx:pt>
          <cx:pt idx="237">38</cx:pt>
          <cx:pt idx="238">139</cx:pt>
          <cx:pt idx="239">96</cx:pt>
          <cx:pt idx="240">25</cx:pt>
          <cx:pt idx="241">146</cx:pt>
          <cx:pt idx="242">109</cx:pt>
          <cx:pt idx="243">127</cx:pt>
          <cx:pt idx="244">146</cx:pt>
          <cx:pt idx="245">151</cx:pt>
          <cx:pt idx="246">8</cx:pt>
          <cx:pt idx="247">1</cx:pt>
          <cx:pt idx="248">31</cx:pt>
          <cx:pt idx="249">51</cx:pt>
          <cx:pt idx="250">33</cx:pt>
          <cx:pt idx="251">219</cx:pt>
          <cx:pt idx="252">208</cx:pt>
          <cx:pt idx="253">38</cx:pt>
          <cx:pt idx="254">66</cx:pt>
          <cx:pt idx="255">202</cx:pt>
          <cx:pt idx="256">32</cx:pt>
          <cx:pt idx="257">206</cx:pt>
          <cx:pt idx="258">3</cx:pt>
          <cx:pt idx="259">10</cx:pt>
          <cx:pt idx="260">21</cx:pt>
          <cx:pt idx="261">131</cx:pt>
          <cx:pt idx="262">1</cx:pt>
          <cx:pt idx="263">134</cx:pt>
          <cx:pt idx="264">8</cx:pt>
          <cx:pt idx="265">2</cx:pt>
          <cx:pt idx="266">81</cx:pt>
          <cx:pt idx="267">99</cx:pt>
          <cx:pt idx="268">29</cx:pt>
          <cx:pt idx="269">3</cx:pt>
          <cx:pt idx="270">89</cx:pt>
          <cx:pt idx="271">240</cx:pt>
          <cx:pt idx="272">8</cx:pt>
          <cx:pt idx="273">128</cx:pt>
          <cx:pt idx="274">51</cx:pt>
          <cx:pt idx="275">1</cx:pt>
          <cx:pt idx="276">58</cx:pt>
          <cx:pt idx="277">156</cx:pt>
          <cx:pt idx="278">73</cx:pt>
          <cx:pt idx="279">48</cx:pt>
          <cx:pt idx="280">9</cx:pt>
          <cx:pt idx="281">63</cx:pt>
          <cx:pt idx="282">69</cx:pt>
          <cx:pt idx="283">40</cx:pt>
          <cx:pt idx="284">59</cx:pt>
          <cx:pt idx="285">112</cx:pt>
          <cx:pt idx="286">95</cx:pt>
          <cx:pt idx="287">323</cx:pt>
          <cx:pt idx="288">65</cx:pt>
          <cx:pt idx="289">4</cx:pt>
          <cx:pt idx="290">106</cx:pt>
          <cx:pt idx="291">77</cx:pt>
          <cx:pt idx="292">61</cx:pt>
          <cx:pt idx="293">62</cx:pt>
          <cx:pt idx="294">34</cx:pt>
          <cx:pt idx="295">53</cx:pt>
          <cx:pt idx="296">147</cx:pt>
          <cx:pt idx="297">47</cx:pt>
          <cx:pt idx="298">77</cx:pt>
          <cx:pt idx="299">169</cx:pt>
          <cx:pt idx="300">3</cx:pt>
          <cx:pt idx="301">31</cx:pt>
          <cx:pt idx="302">1</cx:pt>
          <cx:pt idx="303">5</cx:pt>
          <cx:pt idx="304">100</cx:pt>
          <cx:pt idx="305">58</cx:pt>
          <cx:pt idx="306">56</cx:pt>
          <cx:pt idx="307">202</cx:pt>
          <cx:pt idx="308">14</cx:pt>
          <cx:pt idx="309">158</cx:pt>
          <cx:pt idx="310">166</cx:pt>
          <cx:pt idx="311">18</cx:pt>
          <cx:pt idx="312">29</cx:pt>
          <cx:pt idx="313">417</cx:pt>
          <cx:pt idx="314">46</cx:pt>
          <cx:pt idx="315">446</cx:pt>
          <cx:pt idx="316">326</cx:pt>
          <cx:pt idx="317">316</cx:pt>
          <cx:pt idx="318">454</cx:pt>
          <cx:pt idx="319">492</cx:pt>
          <cx:pt idx="320">246</cx:pt>
          <cx:pt idx="321">253</cx:pt>
          <cx:pt idx="322">502</cx:pt>
          <cx:pt idx="323">263</cx:pt>
          <cx:pt idx="324">550</cx:pt>
          <cx:pt idx="325">551</cx:pt>
          <cx:pt idx="326">610</cx:pt>
          <cx:pt idx="327">496</cx:pt>
          <cx:pt idx="328">509</cx:pt>
          <cx:pt idx="329">504</cx:pt>
          <cx:pt idx="330">402</cx:pt>
          <cx:pt idx="331">668</cx:pt>
          <cx:pt idx="332">743</cx:pt>
          <cx:pt idx="333">601</cx:pt>
          <cx:pt idx="334">650</cx:pt>
          <cx:pt idx="335">818</cx:pt>
          <cx:pt idx="336">811</cx:pt>
          <cx:pt idx="337">844</cx:pt>
          <cx:pt idx="338">875</cx:pt>
          <cx:pt idx="339">875</cx:pt>
          <cx:pt idx="340">883</cx:pt>
          <cx:pt idx="341">882</cx:pt>
          <cx:pt idx="342">967</cx:pt>
          <cx:pt idx="343">1084</cx:pt>
          <cx:pt idx="344">1023</cx:pt>
          <cx:pt idx="345">1039</cx:pt>
          <cx:pt idx="346">1173</cx:pt>
          <cx:pt idx="347">1005</cx:pt>
          <cx:pt idx="348">1215</cx:pt>
          <cx:pt idx="349">997</cx:pt>
          <cx:pt idx="350">1150</cx:pt>
          <cx:pt idx="351">1000</cx:pt>
          <cx:pt idx="352">1101</cx:pt>
          <cx:pt idx="353">1183</cx:pt>
          <cx:pt idx="354">1203</cx:pt>
          <cx:pt idx="355">1032</cx:pt>
          <cx:pt idx="356">1252</cx:pt>
          <cx:pt idx="357">1234</cx:pt>
          <cx:pt idx="358">1238</cx:pt>
          <cx:pt idx="359">1034</cx:pt>
          <cx:pt idx="360">1184</cx:pt>
          <cx:pt idx="361">1028</cx:pt>
          <cx:pt idx="362">1137</cx:pt>
          <cx:pt idx="363">1090</cx:pt>
          <cx:pt idx="364">1066</cx:pt>
          <cx:pt idx="365">1089</cx:pt>
          <cx:pt idx="366">1196</cx:pt>
          <cx:pt idx="367">1067</cx:pt>
          <cx:pt idx="368">1056</cx:pt>
          <cx:pt idx="369">1134</cx:pt>
          <cx:pt idx="370">1260</cx:pt>
          <cx:pt idx="371">1138</cx:pt>
          <cx:pt idx="372">1075</cx:pt>
          <cx:pt idx="373">1102</cx:pt>
          <cx:pt idx="374">1111</cx:pt>
          <cx:pt idx="375">1240</cx:pt>
          <cx:pt idx="376">1076</cx:pt>
          <cx:pt idx="377">1127</cx:pt>
          <cx:pt idx="378">1261</cx:pt>
          <cx:pt idx="379">1303</cx:pt>
          <cx:pt idx="380">1131</cx:pt>
          <cx:pt idx="381">1298</cx:pt>
          <cx:pt idx="382">1143</cx:pt>
          <cx:pt idx="383">1273</cx:pt>
          <cx:pt idx="384">1152</cx:pt>
          <cx:pt idx="385">1241</cx:pt>
          <cx:pt idx="386">1140</cx:pt>
          <cx:pt idx="387">1324</cx:pt>
          <cx:pt idx="388">1106</cx:pt>
          <cx:pt idx="389">1163</cx:pt>
          <cx:pt idx="390">1133</cx:pt>
          <cx:pt idx="391">1004</cx:pt>
          <cx:pt idx="392">999</cx:pt>
          <cx:pt idx="393">1019</cx:pt>
          <cx:pt idx="394">1022</cx:pt>
          <cx:pt idx="395">1033</cx:pt>
          <cx:pt idx="396">1064</cx:pt>
          <cx:pt idx="397">1088</cx:pt>
          <cx:pt idx="398">1090</cx:pt>
          <cx:pt idx="399">1155</cx:pt>
          <cx:pt idx="400">1101</cx:pt>
          <cx:pt idx="401">1269</cx:pt>
          <cx:pt idx="402">1141</cx:pt>
          <cx:pt idx="403">1309</cx:pt>
          <cx:pt idx="404">1152</cx:pt>
          <cx:pt idx="405">1152</cx:pt>
          <cx:pt idx="406">1118</cx:pt>
          <cx:pt idx="407">1085</cx:pt>
          <cx:pt idx="408">1107</cx:pt>
          <cx:pt idx="409">1136</cx:pt>
          <cx:pt idx="410">1146</cx:pt>
          <cx:pt idx="411">1311</cx:pt>
          <cx:pt idx="412">1136</cx:pt>
          <cx:pt idx="413">1107</cx:pt>
          <cx:pt idx="414">1139</cx:pt>
          <cx:pt idx="415">1160</cx:pt>
          <cx:pt idx="416">1104</cx:pt>
          <cx:pt idx="417">1323</cx:pt>
          <cx:pt idx="418">1106</cx:pt>
          <cx:pt idx="419">1172</cx:pt>
          <cx:pt idx="420">1139</cx:pt>
          <cx:pt idx="421">1187</cx:pt>
          <cx:pt idx="422">1160</cx:pt>
          <cx:pt idx="423">1150</cx:pt>
          <cx:pt idx="424">1122</cx:pt>
          <cx:pt idx="425">1198</cx:pt>
          <cx:pt idx="426">1129</cx:pt>
          <cx:pt idx="427">1145</cx:pt>
          <cx:pt idx="428">1169</cx:pt>
          <cx:pt idx="429">1178</cx:pt>
          <cx:pt idx="430">1163</cx:pt>
          <cx:pt idx="431">1057</cx:pt>
          <cx:pt idx="432">784</cx:pt>
          <cx:pt idx="433">837</cx:pt>
          <cx:pt idx="434">822</cx:pt>
          <cx:pt idx="435">899</cx:pt>
          <cx:pt idx="436">815</cx:pt>
          <cx:pt idx="437">905</cx:pt>
          <cx:pt idx="438">828</cx:pt>
          <cx:pt idx="439">857</cx:pt>
          <cx:pt idx="440">909</cx:pt>
          <cx:pt idx="441">1222</cx:pt>
          <cx:pt idx="442">1237</cx:pt>
          <cx:pt idx="443">1239</cx:pt>
          <cx:pt idx="444">1017</cx:pt>
          <cx:pt idx="445">1021</cx:pt>
          <cx:pt idx="446">995</cx:pt>
          <cx:pt idx="447">954</cx:pt>
          <cx:pt idx="448">1001</cx:pt>
          <cx:pt idx="449">1251</cx:pt>
          <cx:pt idx="450">956</cx:pt>
          <cx:pt idx="451">982</cx:pt>
          <cx:pt idx="452">1050</cx:pt>
          <cx:pt idx="453">879</cx:pt>
          <cx:pt idx="454">835</cx:pt>
          <cx:pt idx="455">890</cx:pt>
          <cx:pt idx="456">837</cx:pt>
          <cx:pt idx="457">1055</cx:pt>
          <cx:pt idx="458">1146</cx:pt>
          <cx:pt idx="459">964</cx:pt>
          <cx:pt idx="460">975</cx:pt>
          <cx:pt idx="461">897</cx:pt>
          <cx:pt idx="462">870</cx:pt>
          <cx:pt idx="463">850</cx:pt>
          <cx:pt idx="464">857</cx:pt>
          <cx:pt idx="465">875</cx:pt>
          <cx:pt idx="466">856</cx:pt>
          <cx:pt idx="467">925</cx:pt>
          <cx:pt idx="468">918</cx:pt>
          <cx:pt idx="469">1029</cx:pt>
          <cx:pt idx="470">954</cx:pt>
          <cx:pt idx="471">1145</cx:pt>
          <cx:pt idx="472">1268</cx:pt>
          <cx:pt idx="473">1227</cx:pt>
          <cx:pt idx="474">1223</cx:pt>
          <cx:pt idx="475">1203</cx:pt>
          <cx:pt idx="476">1120</cx:pt>
          <cx:pt idx="477">1122</cx:pt>
          <cx:pt idx="478">1124</cx:pt>
          <cx:pt idx="479">1218</cx:pt>
          <cx:pt idx="480">1224</cx:pt>
          <cx:pt idx="481">1271</cx:pt>
          <cx:pt idx="482">1204</cx:pt>
          <cx:pt idx="483">1182</cx:pt>
          <cx:pt idx="484">1202</cx:pt>
          <cx:pt idx="485">1291</cx:pt>
          <cx:pt idx="486">1196</cx:pt>
          <cx:pt idx="487">1195</cx:pt>
          <cx:pt idx="488">1280</cx:pt>
          <cx:pt idx="489">1205</cx:pt>
          <cx:pt idx="490">1283</cx:pt>
          <cx:pt idx="491">1291</cx:pt>
          <cx:pt idx="492">1238</cx:pt>
          <cx:pt idx="493">1372</cx:pt>
          <cx:pt idx="494">1320</cx:pt>
          <cx:pt idx="495">1320</cx:pt>
          <cx:pt idx="496">1399</cx:pt>
        </cx:lvl>
      </cx:numDim>
    </cx:data>
  </cx:chartData>
  <cx:chart>
    <cx:plotArea>
      <cx:plotAreaRegion>
        <cx:series layoutId="clusteredColumn" uniqueId="{3D83DCFC-6248-4579-A289-FB26595247B4}">
          <cx:tx>
            <cx:txData>
              <cx:f>'4.'!$AD$1</cx:f>
              <cx:v>最大回撤在40%以上返回指数的天数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  <cx:axis id="1">
        <cx:val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7:$A$41</cx:f>
        <cx:lvl ptCount="15">
          <cx:pt idx="0">#REF!</cx:pt>
          <cx:pt idx="1">#REF!</cx:pt>
          <cx:pt idx="2">#REF!</cx:pt>
          <cx:pt idx="3">#REF!</cx:pt>
          <cx:pt idx="4">#REF!</cx:pt>
          <cx:pt idx="5">#REF!</cx:pt>
          <cx:pt idx="6">#REF!</cx:pt>
          <cx:pt idx="7">#REF!</cx:pt>
          <cx:pt idx="8">#REF!</cx:pt>
          <cx:pt idx="9">#REF!</cx:pt>
          <cx:pt idx="10">#REF!</cx:pt>
          <cx:pt idx="11">#REF!</cx:pt>
          <cx:pt idx="12">#REF!</cx:pt>
          <cx:pt idx="13">#REF!</cx:pt>
          <cx:pt idx="14">#REF!</cx:pt>
        </cx:lvl>
      </cx:strDim>
      <cx:numDim type="val">
        <cx:f>'1.'!$M$2:$M$2617</cx:f>
        <cx:lvl ptCount="2616" formatCode="G/通用格式">
          <cx:pt idx="0">0</cx:pt>
          <cx:pt idx="1">0</cx:pt>
          <cx:pt idx="2">0.40538504838771</cx:pt>
          <cx:pt idx="3">0.42233047025292803</cx:pt>
          <cx:pt idx="4">0.444901577232792</cx:pt>
          <cx:pt idx="5">0.44369791051713198</cx:pt>
          <cx:pt idx="6">0.449204553994487</cx:pt>
          <cx:pt idx="7">0.46875016778853801</cx:pt>
          <cx:pt idx="8">0.47098509266181798</cx:pt>
          <cx:pt idx="9">0.44248848887014802</cx:pt>
          <cx:pt idx="10">0.40650439828167501</cx:pt>
          <cx:pt idx="11">0.42961293310351001</cx:pt>
          <cx:pt idx="12">0.42641268798399901</cx:pt>
          <cx:pt idx="13">0.43317193988181402</cx:pt>
          <cx:pt idx="14">0.434932957421514</cx:pt>
          <cx:pt idx="15">0.41585168698088998</cx:pt>
          <cx:pt idx="16">0.39902432308491198</cx:pt>
          <cx:pt idx="17">0.34998998148490801</cx:pt>
          <cx:pt idx="18">0.35423587588136302</cx:pt>
          <cx:pt idx="19">0.32706106394314099</cx:pt>
          <cx:pt idx="20">0.32007055158511999</cx:pt>
          <cx:pt idx="21">0.31151335779595202</cx:pt>
          <cx:pt idx="22">0.335741251714746</cx:pt>
          <cx:pt idx="23">0.34658449901986499</cx:pt>
          <cx:pt idx="24">0.344390834326329</cx:pt>
          <cx:pt idx="25">0.36312620219772201</cx:pt>
          <cx:pt idx="26">0.36177463762117301</cx:pt>
          <cx:pt idx="27">0.36239635691884697</cx:pt>
          <cx:pt idx="28">0.35636984177578801</cx:pt>
          <cx:pt idx="29">0.334877212323694</cx:pt>
          <cx:pt idx="30">0.33468415260372603</cx:pt>
          <cx:pt idx="31">0.34622470813799699</cx:pt>
          <cx:pt idx="32">0.36643625462504897</cx:pt>
          <cx:pt idx="33">0.36928552456839298</cx:pt>
          <cx:pt idx="34">0.37523218576123701</cx:pt>
          <cx:pt idx="35">0.38198270226153103</cx:pt>
          <cx:pt idx="36">0.38554309147402999</cx:pt>
          <cx:pt idx="37">0.380291805458851</cx:pt>
          <cx:pt idx="38">0.38957404059909401</cx:pt>
          <cx:pt idx="39">0.39134393179147797</cx:pt>
          <cx:pt idx="40">0.38698781844034302</cx:pt>
          <cx:pt idx="41">0.40289350128944201</cx:pt>
          <cx:pt idx="42">0.39152048132261202</cx:pt>
          <cx:pt idx="43">0.39299437431366002</cx:pt>
          <cx:pt idx="44">0.39873459387796201</cx:pt>
          <cx:pt idx="45">0.413025637983369</cx:pt>
          <cx:pt idx="46">0.42493696353620197</cx:pt>
          <cx:pt idx="47">0.40275173240830903</cx:pt>
          <cx:pt idx="48">0.40908009559671799</cx:pt>
          <cx:pt idx="49">0.40141785905500899</cx:pt>
          <cx:pt idx="50">0.41058730785956399</cx:pt>
          <cx:pt idx="51">0.42375247156666901</cx:pt>
          <cx:pt idx="52">0.42562798658257001</cx:pt>
          <cx:pt idx="53">0.42179090347727999</cx:pt>
          <cx:pt idx="54">0.42111657822424697</cx:pt>
          <cx:pt idx="55">0.40392230888483599</cx:pt>
          <cx:pt idx="56">0.403724137792495</cx:pt>
          <cx:pt idx="57">0.40928471569227398</cx:pt>
          <cx:pt idx="58">0.39228849457148102</cx:pt>
          <cx:pt idx="59">0.39461366672445197</cx:pt>
          <cx:pt idx="60">0.40601687317900897</cx:pt>
          <cx:pt idx="61">0.420778825439445</cx:pt>
          <cx:pt idx="62">0.42114141404292199</cx:pt>
          <cx:pt idx="63">0.40370796696618799</cx:pt>
          <cx:pt idx="64">0.41506835008010401</cx:pt>
          <cx:pt idx="65">0.42735769067900797</cx:pt>
          <cx:pt idx="66">0.41266210510069601</cx:pt>
          <cx:pt idx="67">0.41947268883321498</cx:pt>
          <cx:pt idx="68">0.42156836953524501</cx:pt>
          <cx:pt idx="69">0.419023870851568</cx:pt>
          <cx:pt idx="70">0.426381651478976</cx:pt>
          <cx:pt idx="71">0.43053213388816303</cx:pt>
          <cx:pt idx="72">0.42431239145128202</cx:pt>
          <cx:pt idx="73">0.40040581636456002</cx:pt>
          <cx:pt idx="74">0.38961671886341998</cx:pt>
          <cx:pt idx="75">0.38938254259027399</cx:pt>
          <cx:pt idx="76">0.37456476277266498</cx:pt>
          <cx:pt idx="77">0.36470328884779502</cx:pt>
          <cx:pt idx="78">0.37553580576245599</cx:pt>
          <cx:pt idx="79">0.36982046581441003</cx:pt>
          <cx:pt idx="80">0.359422848251647</cx:pt>
          <cx:pt idx="81">0.37014807875323902</cx:pt>
          <cx:pt idx="82">0.38151590383210898</cx:pt>
          <cx:pt idx="83">0.37318790847947902</cx:pt>
          <cx:pt idx="84">0.37626997551981001</cx:pt>
          <cx:pt idx="85">0.38336286715596501</cx:pt>
          <cx:pt idx="86">0.38063318014178399</cx:pt>
          <cx:pt idx="87">0.37129204641971297</cx:pt>
          <cx:pt idx="88">0.363271014705708</cx:pt>
          <cx:pt idx="89">0.40390914147895102</cx:pt>
          <cx:pt idx="90">0.409024212028964</cx:pt>
          <cx:pt idx="91">0.401457086915053</cx:pt>
          <cx:pt idx="92">0.41421760169243999</cx:pt>
          <cx:pt idx="93">0.42865337123960801</cx:pt>
          <cx:pt idx="94">0.42697298377327503</cx:pt>
          <cx:pt idx="95">0.42396270884820603</cx:pt>
          <cx:pt idx="96">0.42841572776236198</cx:pt>
          <cx:pt idx="97">0.44232246961547</cx:pt>
          <cx:pt idx="98">0.46397501451437101</cx:pt>
          <cx:pt idx="99">0.447835699357578</cx:pt>
          <cx:pt idx="100">0.42951372305575197</cx:pt>
          <cx:pt idx="101">0.43873296562208602</cx:pt>
          <cx:pt idx="102">0.44632579724850902</cx:pt>
          <cx:pt idx="103">0.46375131993629898</cx:pt>
          <cx:pt idx="104">0.46787875745754898</cx:pt>
          <cx:pt idx="105">0.47996727348539098</cx:pt>
          <cx:pt idx="106">0.475899647044906</cx:pt>
          <cx:pt idx="107">0.45145254287403902</cx:pt>
          <cx:pt idx="108">0.48311724721581001</cx:pt>
          <cx:pt idx="109">0.47285279818855802</cx:pt>
          <cx:pt idx="110">0.45302386605598699</cx:pt>
          <cx:pt idx="111">0.46170132702238298</cx:pt>
          <cx:pt idx="112">0.48519343618596</cx:pt>
          <cx:pt idx="113">0.49473078579465402</cx:pt>
          <cx:pt idx="114">0.49838699047403301</cx:pt>
          <cx:pt idx="115">0.50874260416235595</cx:pt>
          <cx:pt idx="116">0.499594557460732</cx:pt>
          <cx:pt idx="117">0.50363664791278395</cx:pt>
          <cx:pt idx="118">0.51343731302915296</cx:pt>
          <cx:pt idx="119">0.49753873029630002</cx:pt>
          <cx:pt idx="120">0.49569095504066901</cx:pt>
          <cx:pt idx="121">0.49597568430347</cx:pt>
          <cx:pt idx="122">0.487313234980426</cx:pt>
          <cx:pt idx="123">0.47666705160426398</cx:pt>
          <cx:pt idx="124">0.48896953753662697</cx:pt>
          <cx:pt idx="125">0.48832955968554698</cx:pt>
          <cx:pt idx="126">0.48130719045617798</cx:pt>
          <cx:pt idx="127">0.49120715529040498</cx:pt>
          <cx:pt idx="128">0.50907612933742696</cx:pt>
          <cx:pt idx="129">0.51280241604569399</cx:pt>
          <cx:pt idx="130">0.51010229377027905</cx:pt>
          <cx:pt idx="131">0.515391459800984</cx:pt>
          <cx:pt idx="132">0.51851689643482202</cx:pt>
          <cx:pt idx="133">0.51031767569578401</cx:pt>
          <cx:pt idx="134">0.51139979358398402</cx:pt>
          <cx:pt idx="135">0.50596140131003497</cx:pt>
          <cx:pt idx="136">0.49534327810099599</cx:pt>
          <cx:pt idx="137">0.481294047542075</cx:pt>
          <cx:pt idx="138">0.46289500731025901</cx:pt>
          <cx:pt idx="139">0.45609780454665799</cx:pt>
          <cx:pt idx="140">0.46676127942801199</cx:pt>
          <cx:pt idx="141">0.46862463234438501</cx:pt>
          <cx:pt idx="142">0.47817541589681301</cx:pt>
          <cx:pt idx="143">0.48605582517967999</cx:pt>
          <cx:pt idx="144">0.48616392103165301</cx:pt>
          <cx:pt idx="145">0.47685567046648197</cx:pt>
          <cx:pt idx="146">0.47301283513697501</cx:pt>
          <cx:pt idx="147">0.45723258652452697</cx:pt>
          <cx:pt idx="148">0.44948139080923399</cx:pt>
          <cx:pt idx="149">0.45519435647207901</cx:pt>
          <cx:pt idx="150">0.45727774039727298</cx:pt>
          <cx:pt idx="151">0.44383549837083502</cx:pt>
          <cx:pt idx="152">0.42260015697930498</cx:pt>
          <cx:pt idx="153">0.42122380853959501</cx:pt>
          <cx:pt idx="154">0.43381956730104299</cx:pt>
          <cx:pt idx="155">0.41820227383870201</cx:pt>
          <cx:pt idx="156">0.420539675257807</cx:pt>
          <cx:pt idx="157">0.40333699509631898</cx:pt>
          <cx:pt idx="158">0.39360448131661102</cx:pt>
          <cx:pt idx="159">0.40380258379663803</cx:pt>
          <cx:pt idx="160">0.413972423160754</cx:pt>
          <cx:pt idx="161">0.418515130203793</cx:pt>
          <cx:pt idx="162">0.42313821517412897</cx:pt>
          <cx:pt idx="163">0.42508454354234498</cx:pt>
          <cx:pt idx="164">0.42090538768885</cx:pt>
          <cx:pt idx="165">0.44202055367471599</cx:pt>
          <cx:pt idx="166">0.445996666610674</cx:pt>
          <cx:pt idx="167">0.45363247981239802</cx:pt>
          <cx:pt idx="168">0.454218667402146</cx:pt>
          <cx:pt idx="169">0.46383801163252703</cx:pt>
          <cx:pt idx="170">0.46772894935508103</cx:pt>
          <cx:pt idx="171">0.46053517571272401</cx:pt>
          <cx:pt idx="172">0.46884237951742502</cx:pt>
          <cx:pt idx="173">0.45448998682307401</cx:pt>
          <cx:pt idx="174">0.46711643621662102</cx:pt>
          <cx:pt idx="175">0.46126558936724099</cx:pt>
          <cx:pt idx="176">0.45789326617343801</cx:pt>
          <cx:pt idx="177">0.46019916783053999</cx:pt>
          <cx:pt idx="178">0.45932752460603399</cx:pt>
          <cx:pt idx="179">0.45480610195454602</cx:pt>
          <cx:pt idx="180">0.44220981352185001</cx:pt>
          <cx:pt idx="181">0.446140354150728</cx:pt>
          <cx:pt idx="182">0.44935169013209197</cx:pt>
          <cx:pt idx="183">0.45275764388779299</cx:pt>
          <cx:pt idx="184">0.454004832157483</cx:pt>
          <cx:pt idx="185">0.45730155479822698</cx:pt>
          <cx:pt idx="186">0.46117121696195101</cx:pt>
          <cx:pt idx="187">0.463981790224615</cx:pt>
          <cx:pt idx="188">0.45782197242989198</cx:pt>
          <cx:pt idx="189">0.46139364824467</cx:pt>
          <cx:pt idx="190">0.44948445386606201</cx:pt>
          <cx:pt idx="191">0.45213949466452902</cx:pt>
          <cx:pt idx="192">0.44548902905937798</cx:pt>
          <cx:pt idx="193">0.44376619178569898</cx:pt>
          <cx:pt idx="194">0.44855990778059401</cx:pt>
          <cx:pt idx="195">0.44928886035837101</cx:pt>
          <cx:pt idx="196">0.44638982116729398</cx:pt>
          <cx:pt idx="197">0.43574501978399599</cx:pt>
          <cx:pt idx="198">0.41743209295022699</cx:pt>
          <cx:pt idx="199">0.41009533310942498</cx:pt>
          <cx:pt idx="200">0.41122448169981801</cx:pt>
          <cx:pt idx="201">0.41515709168574499</cx:pt>
          <cx:pt idx="202">0.40291331954084397</cx:pt>
          <cx:pt idx="203">0.40894772264767798</cx:pt>
          <cx:pt idx="204">0.41749039878643002</cx:pt>
          <cx:pt idx="205">0.40799996808947703</cx:pt>
          <cx:pt idx="206">0.40643793774027198</cx:pt>
          <cx:pt idx="207">0.41840632399605299</cx:pt>
          <cx:pt idx="208">0.41604302902964302</cx:pt>
          <cx:pt idx="209">0.41225157367200699</cx:pt>
          <cx:pt idx="210">0.408267863301364</cx:pt>
          <cx:pt idx="211">0.40293613892802799</cx:pt>
          <cx:pt idx="212">0.411156737884108</cx:pt>
          <cx:pt idx="213">0.41254354021532602</cx:pt>
          <cx:pt idx="214">0.40908538928139798</cx:pt>
          <cx:pt idx="215">0.39122721562796398</cx:pt>
          <cx:pt idx="216">0.38050197643306999</cx:pt>
          <cx:pt idx="217">0.37015075174289103</cx:pt>
          <cx:pt idx="218">0.34340322978453702</cx:pt>
          <cx:pt idx="219">0.34956695134844901</cx:pt>
          <cx:pt idx="220">0.35616741425832199</cx:pt>
          <cx:pt idx="221">0.34328556336664801</cx:pt>
          <cx:pt idx="222">0.35090253260193299</cx:pt>
          <cx:pt idx="223">0.35351014176473</cx:pt>
          <cx:pt idx="224">0.36286851905513101</cx:pt>
          <cx:pt idx="225">0.36248194543628898</cx:pt>
          <cx:pt idx="226">0.361623651948001</cx:pt>
          <cx:pt idx="227">0.34709184992108899</cx:pt>
          <cx:pt idx="228">0.34746431531347299</cx:pt>
          <cx:pt idx="229">0.34498977753308002</cx:pt>
          <cx:pt idx="230">0.33680314673869899</cx:pt>
          <cx:pt idx="231">0.33356084571741601</cx:pt>
          <cx:pt idx="232">0.329114353196442</cx:pt>
          <cx:pt idx="233">0.32186468364118198</cx:pt>
          <cx:pt idx="234">0.294016634597775</cx:pt>
          <cx:pt idx="235">0.31836787651029502</cx:pt>
          <cx:pt idx="236">0.295233572742921</cx:pt>
          <cx:pt idx="237">0.285539780556755</cx:pt>
          <cx:pt idx="238">0.27861434070848001</cx:pt>
          <cx:pt idx="239">0.28844706322304697</cx:pt>
          <cx:pt idx="240">0.29853541530044903</cx:pt>
          <cx:pt idx="241">0.302533230885632</cx:pt>
          <cx:pt idx="242">0.28795291560767899</cx:pt>
          <cx:pt idx="243">0.299553416042806</cx:pt>
          <cx:pt idx="244">0.29968892627068899</cx:pt>
          <cx:pt idx="245">0.29742549510164701</cx:pt>
          <cx:pt idx="246">0.28303317810283801</cx:pt>
          <cx:pt idx="247">0.27956506437872403</cx:pt>
          <cx:pt idx="248">0.28419417887790399</cx:pt>
          <cx:pt idx="249">0.291975660545228</cx:pt>
          <cx:pt idx="250">0.28261471143748901</cx:pt>
          <cx:pt idx="251">0.26772738430188803</cx:pt>
          <cx:pt idx="252">0.260363028367742</cx:pt>
          <cx:pt idx="253">0.25020018743100803</cx:pt>
          <cx:pt idx="254">0.253828518566932</cx:pt>
          <cx:pt idx="255">0.249968099071019</cx:pt>
          <cx:pt idx="256">0.27108555038774901</cx:pt>
          <cx:pt idx="257">0.28674410445932103</cx:pt>
          <cx:pt idx="258">0.29649384553580599</cx:pt>
          <cx:pt idx="259">0.296758855074232</cx:pt>
          <cx:pt idx="260">0.29020641236561101</cx:pt>
          <cx:pt idx="261">0.29820703873538701</cx:pt>
          <cx:pt idx="262">0.30588001449834501</cx:pt>
          <cx:pt idx="263">0.32243587987691802</cx:pt>
          <cx:pt idx="264">0.327995725687868</cx:pt>
          <cx:pt idx="265">0.33615647053429698</cx:pt>
          <cx:pt idx="266">0.340229695998435</cx:pt>
          <cx:pt idx="267">0.33662528815779003</cx:pt>
          <cx:pt idx="268">0.342794832338842</cx:pt>
          <cx:pt idx="269">0.33410056577784297</cx:pt>
          <cx:pt idx="270">0.349830519612084</cx:pt>
          <cx:pt idx="271">0.363554983784942</cx:pt>
          <cx:pt idx="272">0.375842411931812</cx:pt>
          <cx:pt idx="273">0.37253069913055198</cx:pt>
          <cx:pt idx="274">0.35979518967493701</cx:pt>
          <cx:pt idx="275">0.36222374058365198</cx:pt>
          <cx:pt idx="276">0.35145209358421903</cx:pt>
          <cx:pt idx="277">0.35750734581896998</cx:pt>
          <cx:pt idx="278">0.33075779285124002</cx:pt>
          <cx:pt idx="279">0.33486454388598802</cx:pt>
          <cx:pt idx="280">0.35157960041417802</cx:pt>
          <cx:pt idx="281">0.35429276861414299</cx:pt>
          <cx:pt idx="282">0.34996791776436098</cx:pt>
          <cx:pt idx="283">0.35985524874269897</cx:pt>
          <cx:pt idx="284">0.36310843763846101</cx:pt>
          <cx:pt idx="285">0.37212654771133802</cx:pt>
          <cx:pt idx="286">0.36674577988746299</cx:pt>
          <cx:pt idx="287">0.35414524823620902</cx:pt>
          <cx:pt idx="288">0.32342043870655901</cx:pt>
          <cx:pt idx="289">0.324435199104193</cx:pt>
          <cx:pt idx="290">0.33427679444509201</cx:pt>
          <cx:pt idx="291">0.35153781203269502</cx:pt>
          <cx:pt idx="292">0.35910404546274</cx:pt>
          <cx:pt idx="293">0.370111991172273</cx:pt>
          <cx:pt idx="294">0.36380324903363798</cx:pt>
          <cx:pt idx="295">0.36585558649759198</cx:pt>
          <cx:pt idx="296">0.35167590566177798</cx:pt>
          <cx:pt idx="297">0.34935736902153702</cx:pt>
          <cx:pt idx="298">0.34806052233347901</cx:pt>
          <cx:pt idx="299">0.36602962785770399</cx:pt>
          <cx:pt idx="300">0.36857846661759802</cx:pt>
          <cx:pt idx="301">0.37041860386194703</cx:pt>
          <cx:pt idx="302">0.37693507387652803</cx:pt>
          <cx:pt idx="303">0.37773380054484701</cx:pt>
          <cx:pt idx="304">0.364515593806366</cx:pt>
          <cx:pt idx="305">0.35576427435851499</cx:pt>
          <cx:pt idx="306">0.35313609029028498</cx:pt>
          <cx:pt idx="307">0.34752097316819303</cx:pt>
          <cx:pt idx="308">0.32834242023458099</cx:pt>
          <cx:pt idx="309">0.32132821484833102</cx:pt>
          <cx:pt idx="310">0.34009475174908299</cx:pt>
          <cx:pt idx="311">0.33441114345039702</cx:pt>
          <cx:pt idx="312">0.32659313934006901</cx:pt>
          <cx:pt idx="313">0.31123218503891298</cx:pt>
          <cx:pt idx="314">0.323039310153726</cx:pt>
          <cx:pt idx="315">0.32219838536023399</cx:pt>
          <cx:pt idx="316">0.32144069549871201</cx:pt>
          <cx:pt idx="317">0.30542685723378099</cx:pt>
          <cx:pt idx="318">0.30712921854502501</cx:pt>
          <cx:pt idx="319">0.32617580993177298</cx:pt>
          <cx:pt idx="320">0.303967546780471</cx:pt>
          <cx:pt idx="321">0.29617690541198999</cx:pt>
          <cx:pt idx="322">0.28418382172962497</cx:pt>
          <cx:pt idx="323">0.28550796501075898</cx:pt>
          <cx:pt idx="324">0.27382372188889498</cx:pt>
          <cx:pt idx="325">0.25032895816864298</cx:pt>
          <cx:pt idx="326">0.249608789408621</cx:pt>
          <cx:pt idx="327">0.24857159492786399</cx:pt>
          <cx:pt idx="328">0.244852452009855</cx:pt>
          <cx:pt idx="329">0.27259850662510499</cx:pt>
          <cx:pt idx="330">0.287340895367583</cx:pt>
          <cx:pt idx="331">0.284916712539313</cx:pt>
          <cx:pt idx="332">0.28671411012280501</cx:pt>
          <cx:pt idx="333">0.26399702454748297</cx:pt>
          <cx:pt idx="334">0.26201711509678799</cx:pt>
          <cx:pt idx="335">0.23787540727693801</cx:pt>
          <cx:pt idx="336">0.22224041818693899</cx:pt>
          <cx:pt idx="337">0.23141854714465099</cx:pt>
          <cx:pt idx="338">0.25593275996480502</cx:pt>
          <cx:pt idx="339">0.26811106426311798</cx:pt>
          <cx:pt idx="340">0.26791972594158198</cx:pt>
          <cx:pt idx="341">0.287684645132183</cx:pt>
          <cx:pt idx="342">0.303867973423952</cx:pt>
          <cx:pt idx="343">0.30432561208119902</cx:pt>
          <cx:pt idx="344">0.326188046721684</cx:pt>
          <cx:pt idx="345">0.32358618049399601</cx:pt>
          <cx:pt idx="346">0.32710911722601099</cx:pt>
          <cx:pt idx="347">0.32443289278732002</cx:pt>
          <cx:pt idx="348">0.31158680829351998</cx:pt>
          <cx:pt idx="349">0.33380689310005401</cx:pt>
          <cx:pt idx="350">0.33689426230240599</cx:pt>
          <cx:pt idx="351">0.333859220168919</cx:pt>
          <cx:pt idx="352">0.35188328964591897</cx:pt>
          <cx:pt idx="353">0.35539982670520498</cx:pt>
          <cx:pt idx="354">0.33558513186227701</cx:pt>
          <cx:pt idx="355">0.33915815744390398</cx:pt>
          <cx:pt idx="356">0.31699628389650097</cx:pt>
          <cx:pt idx="357">0.312204130528979</cx:pt>
          <cx:pt idx="358">0.31640013265287298</cx:pt>
          <cx:pt idx="359">0.313537871280545</cx:pt>
          <cx:pt idx="360">0.31617177834962401</cx:pt>
          <cx:pt idx="361">0.312491676269115</cx:pt>
          <cx:pt idx="362">0.31514229318776199</cx:pt>
          <cx:pt idx="363">0.32562622612638897</cx:pt>
          <cx:pt idx="364">0.29166646780605798</cx:pt>
          <cx:pt idx="365">0.30392837377707299</cx:pt>
          <cx:pt idx="366">0.28403619979353001</cx:pt>
          <cx:pt idx="367">0.25089748200304102</cx:pt>
          <cx:pt idx="368">0.25615464806238802</cx:pt>
          <cx:pt idx="369">0.260351970098115</cx:pt>
          <cx:pt idx="370">0.26657120866386302</cx:pt>
          <cx:pt idx="371">0.25684463789233603</cx:pt>
          <cx:pt idx="372">0.24928426185393801</cx:pt>
          <cx:pt idx="373">0.22793410011912699</cx:pt>
          <cx:pt idx="374">0.21448815897068099</cx:pt>
          <cx:pt idx="375">0.20480071796451699</cx:pt>
          <cx:pt idx="376">0.23770023434239601</cx:pt>
          <cx:pt idx="377">0.25178967533776903</cx:pt>
          <cx:pt idx="378">0.24027857049619999</cx:pt>
          <cx:pt idx="379">0.22024018273116899</cx:pt>
          <cx:pt idx="380">0.21669991661124999</cx:pt>
          <cx:pt idx="381">0.22034770868956499</cx:pt>
          <cx:pt idx="382">0.211658205508539</cx:pt>
          <cx:pt idx="383">0.18360555191130501</cx:pt>
          <cx:pt idx="384">0.172661569721581</cx:pt>
          <cx:pt idx="385">0.17150118135675299</cx:pt>
          <cx:pt idx="386">0.18621419485019899</cx:pt>
          <cx:pt idx="387">0.16043823636309601</cx:pt>
          <cx:pt idx="388">0.109828236405485</cx:pt>
          <cx:pt idx="389">0.112638393344264</cx:pt>
          <cx:pt idx="390">0.142627719094535</cx:pt>
          <cx:pt idx="391">0.171390167952398</cx:pt>
          <cx:pt idx="392">0.173101780660114</cx:pt>
          <cx:pt idx="393">0.163729591908605</cx:pt>
          <cx:pt idx="394">0.108723002411129</cx:pt>
          <cx:pt idx="395">0.063491863172574006</cx:pt>
          <cx:pt idx="396">0.104166352291418</cx:pt>
          <cx:pt idx="397">0.050008721241904801</cx:pt>
          <cx:pt idx="398">0.061850603430157101</cx:pt>
          <cx:pt idx="399">0.081566192180178104</cx:pt>
          <cx:pt idx="400">0.088424343489249796</cx:pt>
          <cx:pt idx="401">0.084819811278579196</cx:pt>
          <cx:pt idx="402">0.087765990141000796</cx:pt>
          <cx:pt idx="403">0.107817529854133</cx:pt>
          <cx:pt idx="404">0.12702835841745699</cx:pt>
          <cx:pt idx="405">0.13524678517948799</cx:pt>
          <cx:pt idx="406">0.11877912180727</cx:pt>
          <cx:pt idx="407">0.142485299067027</cx:pt>
          <cx:pt idx="408">0.14922827784863599</cx:pt>
          <cx:pt idx="409">0.15052357144696801</cx:pt>
          <cx:pt idx="410">0.169655195564482</cx:pt>
          <cx:pt idx="411">0.16655435380796699</cx:pt>
          <cx:pt idx="412">0.18087729440870001</cx:pt>
          <cx:pt idx="413">0.17756486273814401</cx:pt>
          <cx:pt idx="414">0.172941653420117</cx:pt>
          <cx:pt idx="415">0.17672885415178699</cx:pt>
          <cx:pt idx="416">0.194362190961375</cx:pt>
          <cx:pt idx="417">0.218417982995463</cx:pt>
          <cx:pt idx="418">0.21566606817043699</cx:pt>
          <cx:pt idx="419">0.221215023153917</cx:pt>
          <cx:pt idx="420">0.219251604146912</cx:pt>
          <cx:pt idx="421">0.206090659134918</cx:pt>
          <cx:pt idx="422">0.19266838560875499</cx:pt>
          <cx:pt idx="423">0.201155086200864</cx:pt>
          <cx:pt idx="424">0.21646523745857299</cx:pt>
          <cx:pt idx="425">0.21821933737089599</cx:pt>
          <cx:pt idx="426">0.20933571467575501</cx:pt>
          <cx:pt idx="427">0.207677914118617</cx:pt>
          <cx:pt idx="428">0.220614859072368</cx:pt>
          <cx:pt idx="429">0.23664063243383601</cx:pt>
          <cx:pt idx="430">0.244754461871969</cx:pt>
          <cx:pt idx="431">0.25078687192223897</cx:pt>
          <cx:pt idx="432">0.21521192820760901</cx:pt>
          <cx:pt idx="433">0.20467927136906999</cx:pt>
          <cx:pt idx="434">0.22454353794989801</cx:pt>
          <cx:pt idx="435">0.23846492302679601</cx:pt>
          <cx:pt idx="436">0.21430206873367899</cx:pt>
          <cx:pt idx="437">0.210339043696985</cx:pt>
          <cx:pt idx="438">0.20935045701477401</cx:pt>
          <cx:pt idx="439">0.195464918985434</cx:pt>
          <cx:pt idx="440">0.194723912898985</cx:pt>
          <cx:pt idx="441">0.19310511679492801</cx:pt>
          <cx:pt idx="442">0.15007602156664501</cx:pt>
          <cx:pt idx="443">0.132023995590378</cx:pt>
          <cx:pt idx="444">0.12506503134031599</cx:pt>
          <cx:pt idx="445">0.14918072492909301</cx:pt>
          <cx:pt idx="446">0.15421120642369801</cx:pt>
          <cx:pt idx="447">0.139267668529755</cx:pt>
          <cx:pt idx="448">0.14846557127796101</cx:pt>
          <cx:pt idx="449">0.15007723837379899</cx:pt>
          <cx:pt idx="450">0.16752205787492699</cx:pt>
          <cx:pt idx="451">0.17427836636025101</cx:pt>
          <cx:pt idx="452">0.17113102094441801</cx:pt>
          <cx:pt idx="453">0.162843955839405</cx:pt>
          <cx:pt idx="454">0.179417854704186</cx:pt>
          <cx:pt idx="455">0.181294130626654</cx:pt>
          <cx:pt idx="456">0.18533644015929299</cx:pt>
          <cx:pt idx="457">0.140161522061549</cx:pt>
          <cx:pt idx="458">0.12893560702767501</cx:pt>
          <cx:pt idx="459">0.130199084574315</cx:pt>
          <cx:pt idx="460">0.12496830983839401</cx:pt>
          <cx:pt idx="461">0.13350877423441601</cx:pt>
          <cx:pt idx="462">0.14409991796530799</cx:pt>
          <cx:pt idx="463">0.15107263486942701</cx:pt>
          <cx:pt idx="464">0.167594428381936</cx:pt>
          <cx:pt idx="465">0.19014521618727301</cx:pt>
          <cx:pt idx="466">0.18868205591460099</cx:pt>
          <cx:pt idx="467">0.17472718426357101</cx:pt>
          <cx:pt idx="468">0.183731274534742</cx:pt>
          <cx:pt idx="469">0.17670487797436599</cx:pt>
          <cx:pt idx="470">0.17532561344238901</cx:pt>
          <cx:pt idx="471">0.17560389659984799</cx:pt>
          <cx:pt idx="472">0.16380733453904101</cx:pt>
          <cx:pt idx="473">0.17106273650111001</cx:pt>
          <cx:pt idx="474">0.159379000192575</cx:pt>
          <cx:pt idx="475">0.15769371015730599</cx:pt>
          <cx:pt idx="476">0.169313605592573</cx:pt>
          <cx:pt idx="477">0.167397130783697</cx:pt>
          <cx:pt idx="478">0.166883017554594</cx:pt>
          <cx:pt idx="479">0.15520175773134201</cx:pt>
          <cx:pt idx="480">0.15968123204099199</cx:pt>
          <cx:pt idx="481">0.17599180516729701</cx:pt>
          <cx:pt idx="482">0.18362239200866901</cx:pt>
          <cx:pt idx="483">0.19169886745800199</cx:pt>
          <cx:pt idx="484">0.19148200153352299</cx:pt>
          <cx:pt idx="485">0.17213893161493299</cx:pt>
          <cx:pt idx="486">0.17078485326777701</cx:pt>
          <cx:pt idx="487">0.16998490017336801</cx:pt>
          <cx:pt idx="488">0.165537482359423</cx:pt>
          <cx:pt idx="489">0.16845141129060501</cx:pt>
          <cx:pt idx="490">0.19175389106117799</cx:pt>
          <cx:pt idx="491">0.19262227081956301</cx:pt>
          <cx:pt idx="492">0.204747456480532</cx:pt>
          <cx:pt idx="493">0.19880264411592399</cx:pt>
          <cx:pt idx="494">0.20020801112266701</cx:pt>
          <cx:pt idx="495">0.21158387097631001</cx:pt>
          <cx:pt idx="496">0.20579752024101899</cx:pt>
          <cx:pt idx="497">0.206748371165759</cx:pt>
          <cx:pt idx="498">0.19672226529571199</cx:pt>
          <cx:pt idx="499">0.176158756591729</cx:pt>
          <cx:pt idx="500">0.17077790379984401</cx:pt>
          <cx:pt idx="501">0.17424276144481701</cx:pt>
          <cx:pt idx="502">0.16520423430416301</cx:pt>
          <cx:pt idx="503">0.18305618398093201</cx:pt>
          <cx:pt idx="504">0.19904045678142801</cx:pt>
          <cx:pt idx="505">0.20196477493003101</cx:pt>
          <cx:pt idx="506">0.197348923236671</cx:pt>
          <cx:pt idx="507">0.18038196194186701</cx:pt>
          <cx:pt idx="508">0.194806921030966</cx:pt>
          <cx:pt idx="509">0.178076122727858</cx:pt>
          <cx:pt idx="510">0.167991075307697</cx:pt>
          <cx:pt idx="511">0.17466867046944301</cx:pt>
          <cx:pt idx="512">0.191554670083873</cx:pt>
          <cx:pt idx="513">0.18204765027804201</cx:pt>
          <cx:pt idx="514">0.14134671709684099</cx:pt>
          <cx:pt idx="515">0.148267654515116</cx:pt>
          <cx:pt idx="516">0.15449669438201599</cx:pt>
          <cx:pt idx="517">0.16287582879043799</cx:pt>
          <cx:pt idx="518">0.15941946902654799</cx:pt>
          <cx:pt idx="519">0.15741874866053601</cx:pt>
          <cx:pt idx="520">0.15959320267951699</cx:pt>
          <cx:pt idx="521">0.161853505783558</cx:pt>
          <cx:pt idx="522">0.15998443524709</cx:pt>
          <cx:pt idx="523">0.15623076802812999</cx:pt>
          <cx:pt idx="524">0.13771616647832699</cx:pt>
          <cx:pt idx="525">0.123050106357835</cx:pt>
          <cx:pt idx="526">0.13898553856551699</cx:pt>
          <cx:pt idx="527">0.14084592652196401</cx:pt>
          <cx:pt idx="528">0.166120026688204</cx:pt>
          <cx:pt idx="529">0.18723362891710099</cx:pt>
          <cx:pt idx="530">0.19340989005614001</cx:pt>
          <cx:pt idx="531">0.18683952798723399</cx:pt>
          <cx:pt idx="532">0.20120990474960199</cx:pt>
          <cx:pt idx="533">0.201074457018354</cx:pt>
          <cx:pt idx="534">0.18412615081420999</cx:pt>
          <cx:pt idx="535">0.193776847057161</cx:pt>
          <cx:pt idx="536">0.18646622723473</cx:pt>
          <cx:pt idx="537">0.179494976020344</cx:pt>
          <cx:pt idx="538">0.176671765719112</cx:pt>
          <cx:pt idx="539">0.18773071944788799</cx:pt>
          <cx:pt idx="540">0.20732773872231899</cx:pt>
          <cx:pt idx="541">0.205118008496986</cx:pt>
          <cx:pt idx="542">0.209044967697495</cx:pt>
          <cx:pt idx="543">0.19043677358385</cx:pt>
          <cx:pt idx="544">0.17840940858652499</cx:pt>
          <cx:pt idx="545">0.18410260357111399</cx:pt>
          <cx:pt idx="546">0.18334500323960201</cx:pt>
          <cx:pt idx="547">0.15677487624905001</cx:pt>
          <cx:pt idx="548">0.15986555811073699</cx:pt>
          <cx:pt idx="549">0.17988149822274899</cx:pt>
          <cx:pt idx="550">0.17857651846286399</cx:pt>
          <cx:pt idx="551">0.18745277957230599</cx:pt>
          <cx:pt idx="552">0.19747587331241601</cx:pt>
          <cx:pt idx="553">0.218313011876859</cx:pt>
          <cx:pt idx="554">0.221238520135429</cx:pt>
          <cx:pt idx="555">0.22064350801004501</cx:pt>
          <cx:pt idx="556">0.22144073987129301</cx:pt>
          <cx:pt idx="557">0.20833933419745701</cx:pt>
          <cx:pt idx="558">0.202567216144769</cx:pt>
          <cx:pt idx="559">0.18019181241325899</cx:pt>
          <cx:pt idx="560">0.17958568842332201</cx:pt>
          <cx:pt idx="561">0.18481402703188801</cx:pt>
          <cx:pt idx="562">0.15994639822383899</cx:pt>
          <cx:pt idx="563">0.14103985021804599</cx:pt>
          <cx:pt idx="564">0.140044441997977</cx:pt>
          <cx:pt idx="565">0.12995815838261199</cx:pt>
          <cx:pt idx="566">0.102541232671695</cx:pt>
          <cx:pt idx="567">0.123046220070107</cx:pt>
          <cx:pt idx="568">0.13917406182936001</cx:pt>
          <cx:pt idx="569">0.140578516344874</cx:pt>
          <cx:pt idx="570">0.167029137002562</cx:pt>
          <cx:pt idx="571">0.17758309228535599</cx:pt>
          <cx:pt idx="572">0.16597007292809601</cx:pt>
          <cx:pt idx="573">0.162523911362905</cx:pt>
          <cx:pt idx="574">0.15428711443891699</cx:pt>
          <cx:pt idx="575">0.15839226071325199</cx:pt>
          <cx:pt idx="576">0.16279082886048901</cx:pt>
          <cx:pt idx="577">0.176071858813863</cx:pt>
          <cx:pt idx="578">0.17483959924831199</cx:pt>
          <cx:pt idx="579">0.180342354731194</cx:pt>
          <cx:pt idx="580">0.16534272883972401</cx:pt>
          <cx:pt idx="581">0.16120454452330099</cx:pt>
          <cx:pt idx="582">0.14879644870640399</cx:pt>
          <cx:pt idx="583">0.13376417011875899</cx:pt>
          <cx:pt idx="584">0.13727256873801</cx:pt>
          <cx:pt idx="585">0.13913661344818001</cx:pt>
          <cx:pt idx="586">0.141679425954922</cx:pt>
          <cx:pt idx="587">0.15406296578120099</cx:pt>
          <cx:pt idx="588">0.153582936496621</cx:pt>
          <cx:pt idx="589">0.14318456040688801</cx:pt>
          <cx:pt idx="590">0.14024246303749299</cx:pt>
          <cx:pt idx="591">0.139306353353263</cx:pt>
          <cx:pt idx="592">0.121608524981171</cx:pt>
          <cx:pt idx="593">0.11745729704015299</cx:pt>
          <cx:pt idx="594">0.122579615339707</cx:pt>
          <cx:pt idx="595">0.11039115755843799</cx:pt>
          <cx:pt idx="596">0.107526477596458</cx:pt>
          <cx:pt idx="597">0.0994385712617053</cx:pt>
          <cx:pt idx="598">0.095300794274881306</cx:pt>
          <cx:pt idx="599">0.096319885042074199</cx:pt>
          <cx:pt idx="600">0.095865709420870499</cx:pt>
          <cx:pt idx="601">0.100558760787355</cx:pt>
          <cx:pt idx="602">0.089235470815831303</cx:pt>
          <cx:pt idx="603">0.088681823066177404</cx:pt>
          <cx:pt idx="604">0.070777206289776795</cx:pt>
          <cx:pt idx="605">0.0367103478266513</cx:pt>
          <cx:pt idx="606">0.0230552767126894</cx:pt>
          <cx:pt idx="607">0.015766699272178601</cx:pt>
          <cx:pt idx="608">0.021599760039290199</cx:pt>
          <cx:pt idx="609">0</cx:pt>
          <cx:pt idx="610">0</cx:pt>
          <cx:pt idx="611">0.00080982804757833403</cx:pt>
          <cx:pt idx="612">0</cx:pt>
          <cx:pt idx="613">0.0083233069850834999</cx:pt>
          <cx:pt idx="614">0.0218746470396196</cx:pt>
          <cx:pt idx="615">0.014015069396896399</cx:pt>
          <cx:pt idx="616">0.011458791041251901</cx:pt>
          <cx:pt idx="617">0</cx:pt>
          <cx:pt idx="618">0.0154994460673832</cx:pt>
          <cx:pt idx="619">0.0054894306139665304</cx:pt>
          <cx:pt idx="620">0</cx:pt>
          <cx:pt idx="621">0</cx:pt>
          <cx:pt idx="622">0</cx:pt>
          <cx:pt idx="623">0</cx:pt>
          <cx:pt idx="624">0</cx:pt>
          <cx:pt idx="625">0</cx:pt>
          <cx:pt idx="626">0.013406198215985699</cx:pt>
          <cx:pt idx="627">0</cx:pt>
          <cx:pt idx="628">0.00328685202665659</cx:pt>
          <cx:pt idx="629">0.0119364639993949</cx:pt>
          <cx:pt idx="630">0</cx:pt>
          <cx:pt idx="631">0</cx:pt>
          <cx:pt idx="632">0.00211556350918932</cx:pt>
          <cx:pt idx="633">0.0039740995989142299</cx:pt>
          <cx:pt idx="634">0.0129428748751989</cx:pt>
          <cx:pt idx="635">0</cx:pt>
          <cx:pt idx="636">0.0035250805338242499</cx:pt>
          <cx:pt idx="637">0.0266297458396643</cx:pt>
          <cx:pt idx="638">0.0214542566996134</cx:pt>
          <cx:pt idx="639">0.0135869989639572</cx:pt>
          <cx:pt idx="640">0.037487331499417201</cx:pt>
          <cx:pt idx="641">0.043819076457229503</cx:pt>
          <cx:pt idx="642">0.0222748295458211</cx:pt>
          <cx:pt idx="643">0.026473452043603199</cx:pt>
          <cx:pt idx="644">0</cx:pt>
          <cx:pt idx="645">0</cx:pt>
          <cx:pt idx="646">0.016384627147153299</cx:pt>
          <cx:pt idx="647">0.0249712317364159</cx:pt>
          <cx:pt idx="648">0.0150316072080258</cx:pt>
          <cx:pt idx="649">0.00528733706612723</cx:pt>
          <cx:pt idx="650">0.013371031094261999</cx:pt>
          <cx:pt idx="651">0</cx:pt>
          <cx:pt idx="652">0</cx:pt>
          <cx:pt idx="653">0</cx:pt>
          <cx:pt idx="654">0</cx:pt>
          <cx:pt idx="655">0.00403266960540841</cx:pt>
          <cx:pt idx="656">0.018638128429251499</cx:pt>
          <cx:pt idx="657">0</cx:pt>
          <cx:pt idx="658">0.019761113128670599</cx:pt>
          <cx:pt idx="659">0.00625403611113099</cx:pt>
          <cx:pt idx="660">0.00562018114771402</cx:pt>
          <cx:pt idx="661">0.025295257416786801</cx:pt>
          <cx:pt idx="662">0.020168770125596602</cx:pt>
          <cx:pt idx="663">0.0142313465470577</cx:pt>
          <cx:pt idx="664">0.0314088457138876</cx:pt>
          <cx:pt idx="665">0.057455664030937201</cx:pt>
          <cx:pt idx="666">0.034106543138390198</cx:pt>
          <cx:pt idx="667">0.060860332012534497</cx:pt>
          <cx:pt idx="668">0.076258468517659106</cx:pt>
          <cx:pt idx="669">0.049340219322791597</cx:pt>
          <cx:pt idx="670">0.0354458603514054</cx:pt>
          <cx:pt idx="671">0.040385434044756301</cx:pt>
          <cx:pt idx="672">0.0068906310279626404</cx:pt>
          <cx:pt idx="673">0</cx:pt>
          <cx:pt idx="674">0.0081920487960135003</cx:pt>
          <cx:pt idx="675">0.021979000030448299</cx:pt>
          <cx:pt idx="676">0.0199256674846293</cx:pt>
          <cx:pt idx="677">0.0089558969247107902</cx:pt>
          <cx:pt idx="678">0.035934648324361697</cx:pt>
          <cx:pt idx="679">0.053918847580358101</cx:pt>
          <cx:pt idx="680">0.053132592820189603</cx:pt>
          <cx:pt idx="681">0.052869501313288499</cx:pt>
          <cx:pt idx="682">0.047038834452925199</cx:pt>
          <cx:pt idx="683">0.053938138911041697</cx:pt>
          <cx:pt idx="684">0.037317106065513903</cx:pt>
          <cx:pt idx="685">0.036143827434777301</cx:pt>
          <cx:pt idx="686">0.047734267121702298</cx:pt>
          <cx:pt idx="687">0.0118616172264994</cx:pt>
          <cx:pt idx="688">0</cx:pt>
          <cx:pt idx="689">0.020084735038969601</cx:pt>
          <cx:pt idx="690">0.0297555310902319</cx:pt>
          <cx:pt idx="691">0.0166848317466812</cx:pt>
          <cx:pt idx="692">0.0134940350231544</cx:pt>
          <cx:pt idx="693">0.012130704502180401</cx:pt>
          <cx:pt idx="694">0</cx:pt>
          <cx:pt idx="695">0</cx:pt>
          <cx:pt idx="696">0</cx:pt>
          <cx:pt idx="697">0</cx:pt>
          <cx:pt idx="698">0.0031707781800248201</cx:pt>
          <cx:pt idx="699">0.029082302698300502</cx:pt>
          <cx:pt idx="700">0.0049329260788326997</cx:pt>
          <cx:pt idx="701">0.036847280611128699</cx:pt>
          <cx:pt idx="702">0.0157729788830431</cx:pt>
          <cx:pt idx="703">0</cx:pt>
          <cx:pt idx="704">0</cx:pt>
          <cx:pt idx="705">0</cx:pt>
          <cx:pt idx="706">0.00060750170664126697</cx:pt>
          <cx:pt idx="707">0</cx:pt>
          <cx:pt idx="708">0.0088043563657364994</cx:pt>
          <cx:pt idx="709">0.0208706046700083</cx:pt>
          <cx:pt idx="710">0.0170454315491247</cx:pt>
          <cx:pt idx="711">0.0237712652583787</cx:pt>
          <cx:pt idx="712">0.0049972703985219497</cx:pt>
          <cx:pt idx="713">0.040687064511541998</cx:pt>
          <cx:pt idx="714">0.037712748359131</cx:pt>
          <cx:pt idx="715">0.050761039395037899</cx:pt>
          <cx:pt idx="716">0.076259945057923106</cx:pt>
          <cx:pt idx="717">0.095129114376811194</cx:pt>
          <cx:pt idx="718">0.065739831565544304</cx:pt>
          <cx:pt idx="719">0.068504368120725204</cx:pt>
          <cx:pt idx="720">0.095296810712043906</cx:pt>
          <cx:pt idx="721">0.108532068670599</cx:pt>
          <cx:pt idx="722">0.082670287685953303</cx:pt>
          <cx:pt idx="723">0.088658110998536599</cx:pt>
          <cx:pt idx="724">0.095370105664657395</cx:pt>
          <cx:pt idx="725">0.0946568712879408</cx:pt>
          <cx:pt idx="726">0.076684002828531606</cx:pt>
          <cx:pt idx="727">0.049885570095651699</cx:pt>
          <cx:pt idx="728">0.059357679839187598</cx:pt>
          <cx:pt idx="729">0.049578820697954301</cx:pt>
          <cx:pt idx="730">0.056968040235346802</cx:pt>
          <cx:pt idx="731">0.056176434869204102</cx:pt>
          <cx:pt idx="732">0.090524057082030804</cx:pt>
          <cx:pt idx="733">0.095220133166804999</cx:pt>
          <cx:pt idx="734">0.094578397472342104</cx:pt>
          <cx:pt idx="735">0.090079381805409198</cx:pt>
          <cx:pt idx="736">0.0564083735459356</cx:pt>
          <cx:pt idx="737">0.052699325302755701</cx:pt>
          <cx:pt idx="738">0</cx:pt>
          <cx:pt idx="739">0</cx:pt>
          <cx:pt idx="740">0.0262931963779722</cx:pt>
          <cx:pt idx="741">0.0106063258494107</cx:pt>
          <cx:pt idx="742">0</cx:pt>
          <cx:pt idx="743">0.023900424212403501</cx:pt>
          <cx:pt idx="744">0.048598289588349101</cx:pt>
          <cx:pt idx="745">0.066970372395611599</cx:pt>
          <cx:pt idx="746">0.052670088537223797</cx:pt>
          <cx:pt idx="747">0.025224327113243301</cx:pt>
          <cx:pt idx="748">0</cx:pt>
          <cx:pt idx="749">0</cx:pt>
          <cx:pt idx="750">0</cx:pt>
          <cx:pt idx="751">0</cx:pt>
          <cx:pt idx="752">0</cx:pt>
          <cx:pt idx="753">0.020676274409490498</cx:pt>
          <cx:pt idx="754">0.023784218790319899</cx:pt>
          <cx:pt idx="755">0.0119302687962601</cx:pt>
          <cx:pt idx="756">0.010604043029665699</cx:pt>
          <cx:pt idx="757">0</cx:pt>
          <cx:pt idx="758">0.0257156526592776</cx:pt>
          <cx:pt idx="759">0.046229895434197602</cx:pt>
          <cx:pt idx="760">0.065823546423692106</cx:pt>
          <cx:pt idx="761">0.0228488326102434</cx:pt>
          <cx:pt idx="762">0.029569544370719202</cx:pt>
          <cx:pt idx="763">0.0113299747401898</cx:pt>
          <cx:pt idx="764">0</cx:pt>
          <cx:pt idx="765">0.00170103570058604</cx:pt>
          <cx:pt idx="766">0.048757554954865598</cx:pt>
          <cx:pt idx="767">0.047747783363937098</cx:pt>
          <cx:pt idx="768">0.0588161937826727</cx:pt>
          <cx:pt idx="769">0.065767605064277104</cx:pt>
          <cx:pt idx="770">0.037097836016269398</cx:pt>
          <cx:pt idx="771">0.045422465439244997</cx:pt>
          <cx:pt idx="772">0.034483876167464997</cx:pt>
          <cx:pt idx="773">0.025636214660478999</cx:pt>
          <cx:pt idx="774">0.034327394443027397</cx:pt>
          <cx:pt idx="775">0.0411381469284871</cx:pt>
          <cx:pt idx="776">0.029995870084157699</cx:pt>
          <cx:pt idx="777">0</cx:pt>
          <cx:pt idx="778">0</cx:pt>
          <cx:pt idx="779">0</cx:pt>
          <cx:pt idx="780">0</cx:pt>
          <cx:pt idx="781">0.010014751899119</cx:pt>
          <cx:pt idx="782">0.028430307626093901</cx:pt>
          <cx:pt idx="783">0.042826844735626403</cx:pt>
          <cx:pt idx="784">0.0524532860657317</cx:pt>
          <cx:pt idx="785">0.034894278885500202</cx:pt>
          <cx:pt idx="786">0.033557150965182997</cx:pt>
          <cx:pt idx="787">0</cx:pt>
          <cx:pt idx="788">0.0067088916157446296</cx:pt>
          <cx:pt idx="789">0.026341602495409299</cx:pt>
          <cx:pt idx="790">0.027730011728070401</cx:pt>
          <cx:pt idx="791">0.051444849517857397</cx:pt>
          <cx:pt idx="792">0.062896317743341201</cx:pt>
          <cx:pt idx="793">0.057877032271818098</cx:pt>
          <cx:pt idx="794">0.048689091152265399</cx:pt>
          <cx:pt idx="795">0.0152690453467462</cx:pt>
          <cx:pt idx="796">0.0152109602149048</cx:pt>
          <cx:pt idx="797">0.040992526215686699</cx:pt>
          <cx:pt idx="798">0.060003221775448402</cx:pt>
          <cx:pt idx="799">0.053014117350475697</cx:pt>
          <cx:pt idx="800">0.067907217661955802</cx:pt>
          <cx:pt idx="801">0.093526764000359003</cx:pt>
          <cx:pt idx="802">0.095105103567890398</cx:pt>
          <cx:pt idx="803">0.091436388922481501</cx:pt>
          <cx:pt idx="804">0.079824303552509898</cx:pt>
          <cx:pt idx="805">0.091929875453160198</cx:pt>
          <cx:pt idx="806">0.12124025522109599</cx:pt>
          <cx:pt idx="807">0.13374789123872199</cx:pt>
          <cx:pt idx="808">0.15098320211493799</cx:pt>
          <cx:pt idx="809">0.127767119351477</cx:pt>
          <cx:pt idx="810">0.12887455612725501</cx:pt>
          <cx:pt idx="811">0.13743952721078101</cx:pt>
          <cx:pt idx="812">0.13504812739566599</cx:pt>
          <cx:pt idx="813">0.099643472399071106</cx:pt>
          <cx:pt idx="814">0.091400677859511795</cx:pt>
          <cx:pt idx="815">0.109539185902749</cx:pt>
          <cx:pt idx="816">0.14197407933234599</cx:pt>
          <cx:pt idx="817">0.109892607997346</cx:pt>
          <cx:pt idx="818">0.083253827891500404</cx:pt>
          <cx:pt idx="819">0.072431269541920404</cx:pt>
          <cx:pt idx="820">0.052873095902758502</cx:pt>
          <cx:pt idx="821">0.060188421093780399</cx:pt>
          <cx:pt idx="822">0.047252719381398099</cx:pt>
          <cx:pt idx="823">0.055937723584004</cx:pt>
          <cx:pt idx="824">0.027104418662058701</cx:pt>
          <cx:pt idx="825">0.016282012042927601</cx:pt>
          <cx:pt idx="826">0.0166795369322086</cx:pt>
          <cx:pt idx="827">0.045998293684649097</cx:pt>
          <cx:pt idx="828">0.031988526231106797</cx:pt>
          <cx:pt idx="829">0.017960050651525599</cx:pt>
          <cx:pt idx="830">0.0074675297867244604</cx:pt>
          <cx:pt idx="831">0.00875987165711886</cx:pt>
          <cx:pt idx="832">0.0213946233390266</cx:pt>
          <cx:pt idx="833">0.0082618309022505897</cx:pt>
          <cx:pt idx="834">0.038090947428394799</cx:pt>
          <cx:pt idx="835">0.052784283071142697</cx:pt>
          <cx:pt idx="836">0.068996577472348303</cx:pt>
          <cx:pt idx="837">0.074027512660168299</cx:pt>
          <cx:pt idx="838">0.074810046303137603</cx:pt>
          <cx:pt idx="839">0.0745885339962261</cx:pt>
          <cx:pt idx="840">0.071811728659598201</cx:pt>
          <cx:pt idx="841">0.070899176453765894</cx:pt>
          <cx:pt idx="842">0.069503210115074904</cx:pt>
          <cx:pt idx="843">0.095835430022482501</cx:pt>
          <cx:pt idx="844">0.10069494060199199</cx:pt>
          <cx:pt idx="845">0.12054719153898701</cx:pt>
          <cx:pt idx="846">0.041360396003282299</cx:pt>
          <cx:pt idx="847">0.042429514493809897</cx:pt>
          <cx:pt idx="848">0.030816254624937599</cx:pt>
          <cx:pt idx="849">0</cx:pt>
          <cx:pt idx="850">0.00145146227615076</cx:pt>
          <cx:pt idx="851">0.029542688942309499</cx:pt>
          <cx:pt idx="852">0.021827373670876601</cx:pt>
          <cx:pt idx="853">0.031718313707056203</cx:pt>
          <cx:pt idx="854">0.058067345257394799</cx:pt>
          <cx:pt idx="855">0.057201424253780601</cx:pt>
          <cx:pt idx="856">0.058538327038855899</cx:pt>
          <cx:pt idx="857">0.0494146361088387</cx:pt>
          <cx:pt idx="858">0.040580095541401198</cx:pt>
          <cx:pt idx="859">0.040644256275853899</cx:pt>
          <cx:pt idx="860">0.038830706205721398</cx:pt>
          <cx:pt idx="861">0.030394607042450599</cx:pt>
          <cx:pt idx="862">0.042731662831073103</cx:pt>
          <cx:pt idx="863">0.064664246499956099</cx:pt>
          <cx:pt idx="864">0.050808839456966501</cx:pt>
          <cx:pt idx="865">0.068972001897547694</cx:pt>
          <cx:pt idx="866">0.078713719086107803</cx:pt>
          <cx:pt idx="867">0.076210707397174393</cx:pt>
          <cx:pt idx="868">0.096002484615563405</cx:pt>
          <cx:pt idx="869">0.10925800538127101</cx:pt>
          <cx:pt idx="870">0.089393257000531898</cx:pt>
          <cx:pt idx="871">0.108886499501581</cx:pt>
          <cx:pt idx="872">0.14234044567241899</cx:pt>
          <cx:pt idx="873">0.12694320714308399</cx:pt>
          <cx:pt idx="874">0.109562093309549</cx:pt>
          <cx:pt idx="875">0.11576019160720501</cx:pt>
          <cx:pt idx="876">0.13982608521852799</cx:pt>
          <cx:pt idx="877">0.14858205512098599</cx:pt>
          <cx:pt idx="878">0.13627913010881099</cx:pt>
          <cx:pt idx="879">0.136493279513066</cx:pt>
          <cx:pt idx="880">0.12216813720919301</cx:pt>
          <cx:pt idx="881">0.14363807179323901</cx:pt>
          <cx:pt idx="882">0.158345399063098</cx:pt>
          <cx:pt idx="883">0.17549723747455501</cx:pt>
          <cx:pt idx="884">0.188220544962652</cx:pt>
          <cx:pt idx="885">0.18450519026926801</cx:pt>
          <cx:pt idx="886">0.18099732216890699</cx:pt>
          <cx:pt idx="887">0.19478138383069599</cx:pt>
          <cx:pt idx="888">0.19448588147686599</cx:pt>
          <cx:pt idx="889">0.213778547087565</cx:pt>
          <cx:pt idx="890">0.224269496560803</cx:pt>
          <cx:pt idx="891">0.21092845435716501</cx:pt>
          <cx:pt idx="892">0.21749480183328701</cx:pt>
          <cx:pt idx="893">0.18860262158691701</cx:pt>
          <cx:pt idx="894">0.20501113615132399</cx:pt>
          <cx:pt idx="895">0.22685805868796399</cx:pt>
          <cx:pt idx="896">0.22021650884820801</cx:pt>
          <cx:pt idx="897">0.21974239867599199</cx:pt>
          <cx:pt idx="898">0.20468582938876501</cx:pt>
          <cx:pt idx="899">0.207041420313029</cx:pt>
          <cx:pt idx="900">0.21752528853408901</cx:pt>
          <cx:pt idx="901">0.18174864924142201</cx:pt>
          <cx:pt idx="902">0.17800564125826601</cx:pt>
          <cx:pt idx="903">0.14818121989994701</cx:pt>
          <cx:pt idx="904">0.16019482972261301</cx:pt>
          <cx:pt idx="905">0.17753100559059501</cx:pt>
          <cx:pt idx="906">0.17489147195525701</cx:pt>
          <cx:pt idx="907">0.177215962550304</cx:pt>
          <cx:pt idx="908">0.17606268050936399</cx:pt>
          <cx:pt idx="909">0.174981292075713</cx:pt>
          <cx:pt idx="910">0.14358999142190901</cx:pt>
          <cx:pt idx="911">0.13668134628349199</cx:pt>
          <cx:pt idx="912">0.138811777031672</cx:pt>
          <cx:pt idx="913">0.161341567978976</cx:pt>
          <cx:pt idx="914">0.15968357506619399</cx:pt>
          <cx:pt idx="915">0.18436498884876601</cx:pt>
          <cx:pt idx="916">0.18888061710777801</cx:pt>
          <cx:pt idx="917">0.17813570569704201</cx:pt>
          <cx:pt idx="918">0.14998441090869499</cx:pt>
          <cx:pt idx="919">0.15129070881226001</cx:pt>
          <cx:pt idx="920">0.13759638272260499</cx:pt>
          <cx:pt idx="921">0.13606921016558299</cx:pt>
          <cx:pt idx="922">0.149958028066878</cx:pt>
          <cx:pt idx="923">0.11910591214388599</cx:pt>
          <cx:pt idx="924">0.094301841413002505</cx:pt>
          <cx:pt idx="925">0.092460159662599697</cx:pt>
          <cx:pt idx="926">0.110711404958189</cx:pt>
          <cx:pt idx="927">0.092585221346959901</cx:pt>
          <cx:pt idx="928">0.091349084480767395</cx:pt>
          <cx:pt idx="929">0.105222099621455</cx:pt>
          <cx:pt idx="930">0.108165659277832</cx:pt>
          <cx:pt idx="931">0.120711555665169</cx:pt>
          <cx:pt idx="932">0.127510856957503</cx:pt>
          <cx:pt idx="933">0.116480472527657</cx:pt>
          <cx:pt idx="934">0.122163021370584</cx:pt>
          <cx:pt idx="935">0.120343765078776</cx:pt>
          <cx:pt idx="936">0.113493817424211</cx:pt>
          <cx:pt idx="937">0.118865655009429</cx:pt>
          <cx:pt idx="938">0.12515262240465599</cx:pt>
          <cx:pt idx="939">0.116449377534642</cx:pt>
          <cx:pt idx="940">0.098156620293416999</cx:pt>
          <cx:pt idx="941">0.091528288544206193</cx:pt>
          <cx:pt idx="942">0.086754957351431003</cx:pt>
          <cx:pt idx="943">0.067243128934602603</cx:pt>
          <cx:pt idx="944">0.041543893362009199</cx:pt>
          <cx:pt idx="945">0.048566531100799601</cx:pt>
          <cx:pt idx="946">0.0609235128494265</cx:pt>
          <cx:pt idx="947">0.074580423393382805</cx:pt>
          <cx:pt idx="948">0.084919254771584907</cx:pt>
          <cx:pt idx="949">0.065885234782271596</cx:pt>
          <cx:pt idx="950">0.058449318155358698</cx:pt>
          <cx:pt idx="951">0.0425498814540783</cx:pt>
          <cx:pt idx="952">0.057303943887185897</cx:pt>
          <cx:pt idx="953">0.055798577701442503</cx:pt>
          <cx:pt idx="954">0.057583362595715303</cx:pt>
          <cx:pt idx="955">0.038957188054030499</cx:pt>
          <cx:pt idx="956">0.017482325334516002</cx:pt>
          <cx:pt idx="957">0.019000448561550198</cx:pt>
          <cx:pt idx="958">0.0318287835828149</cx:pt>
          <cx:pt idx="959">0.041950045953397803</cx:pt>
          <cx:pt idx="960">0.050792390467840599</cx:pt>
          <cx:pt idx="961">0.070190386096274801</cx:pt>
          <cx:pt idx="962">0.087622041568522296</cx:pt>
          <cx:pt idx="963">0.077511934617586806</cx:pt>
          <cx:pt idx="964">0.100031740791996</cx:pt>
          <cx:pt idx="965">0.083076855180138395</cx:pt>
          <cx:pt idx="966">0.085800230175089406</cx:pt>
          <cx:pt idx="967">0.086838003220611804</cx:pt>
          <cx:pt idx="968">0.088284036382949904</cx:pt>
          <cx:pt idx="969">0.11099417033940701</cx:pt>
          <cx:pt idx="970">0.107679605345489</cx:pt>
          <cx:pt idx="971">0.091690579833041103</cx:pt>
          <cx:pt idx="972">0.10993632332770201</cx:pt>
          <cx:pt idx="973">0.118734843365599</cx:pt>
          <cx:pt idx="974">0.11637681403846301</cx:pt>
          <cx:pt idx="975">0.12851476026101899</cx:pt>
          <cx:pt idx="976">0.13655638999692599</cx:pt>
          <cx:pt idx="977">0.12516024396140299</cx:pt>
          <cx:pt idx="978">0.116540065147057</cx:pt>
          <cx:pt idx="979">0.087550192896706402</cx:pt>
          <cx:pt idx="980">0.096665922028932996</cx:pt>
          <cx:pt idx="981">0.114782598475114</cx:pt>
          <cx:pt idx="982">0.12005470853393201</cx:pt>
          <cx:pt idx="983">0.113104949702216</cx:pt>
          <cx:pt idx="984">0.130740193309687</cx:pt>
          <cx:pt idx="985">0.13233123202154301</cx:pt>
          <cx:pt idx="986">0.142149340433256</cx:pt>
          <cx:pt idx="987">0.146418735514288</cx:pt>
          <cx:pt idx="988">0.15134868659665801</cx:pt>
          <cx:pt idx="989">0.15293908419987801</cx:pt>
          <cx:pt idx="990">0.14635947742976499</cx:pt>
          <cx:pt idx="991">0.135489698247134</cx:pt>
          <cx:pt idx="992">0.14580701412394301</cx:pt>
          <cx:pt idx="993">0.12967667428149601</cx:pt>
          <cx:pt idx="994">0.116469459967944</cx:pt>
          <cx:pt idx="995">0.113518599440023</cx:pt>
          <cx:pt idx="996">0.118529848508123</cx:pt>
          <cx:pt idx="997">0.10157365897519401</cx:pt>
          <cx:pt idx="998">0.086138562051849804</cx:pt>
          <cx:pt idx="999">0.082096938701669397</cx:pt>
          <cx:pt idx="1000">0.077256222040826203</cx:pt>
          <cx:pt idx="1001">0.077992601179067395</cx:pt>
          <cx:pt idx="1002">0.093517654129953706</cx:pt>
          <cx:pt idx="1003">0.068102241600378602</cx:pt>
          <cx:pt idx="1004">0.052558144288882697</cx:pt>
          <cx:pt idx="1005">0.062792510001804303</cx:pt>
          <cx:pt idx="1006">0.083296577400083796</cx:pt>
          <cx:pt idx="1007">0.0951614550325732</cx:pt>
          <cx:pt idx="1008">0.102556567252881</cx:pt>
          <cx:pt idx="1009">0.103762018944712</cx:pt>
          <cx:pt idx="1010">0.091185711549106901</cx:pt>
          <cx:pt idx="1011">0.093839396430045893</cx:pt>
          <cx:pt idx="1012">0.11439811507674</cx:pt>
          <cx:pt idx="1013">0.117671445516716</cx:pt>
          <cx:pt idx="1014">0.115266793340518</cx:pt>
          <cx:pt idx="1015">0.12516913560977</cx:pt>
          <cx:pt idx="1016">0.13789870251769901</cx:pt>
          <cx:pt idx="1017">0.13706773949147699</cx:pt>
          <cx:pt idx="1018">0.12950692367094299</cx:pt>
          <cx:pt idx="1019">0.126980525290461</cx:pt>
          <cx:pt idx="1020">0.13459690861653201</cx:pt>
          <cx:pt idx="1021">0.15657695352335099</cx:pt>
          <cx:pt idx="1022">0.16107299101361999</cx:pt>
          <cx:pt idx="1023">0.15578813005988401</cx:pt>
          <cx:pt idx="1024">0.16772759639776999</cx:pt>
          <cx:pt idx="1025">0.17560835781359199</cx:pt>
          <cx:pt idx="1026">0.16537858964431501</cx:pt>
          <cx:pt idx="1027">0.14606427381922499</cx:pt>
          <cx:pt idx="1028">0.151708927590916</cx:pt>
          <cx:pt idx="1029">0.14159018945073801</cx:pt>
          <cx:pt idx="1030">0.15404870165654699</cx:pt>
          <cx:pt idx="1031">0.17057011666091901</cx:pt>
          <cx:pt idx="1032">0.17747149722907199</cx:pt>
          <cx:pt idx="1033">0.18450739778015801</cx:pt>
          <cx:pt idx="1034">0.19423542289501899</cx:pt>
          <cx:pt idx="1035">0.19116452493061301</cx:pt>
          <cx:pt idx="1036">0.193428588831318</cx:pt>
          <cx:pt idx="1037">0.199268928324143</cx:pt>
          <cx:pt idx="1038">0.20355568421706499</cx:pt>
          <cx:pt idx="1039">0.209359755557465</cx:pt>
          <cx:pt idx="1040">0.21040314257912901</cx:pt>
          <cx:pt idx="1041">0.181992492176522</cx:pt>
          <cx:pt idx="1042">0.18530407986381001</cx:pt>
          <cx:pt idx="1043">0.19168103827038999</cx:pt>
          <cx:pt idx="1044">0.196176300292704</cx:pt>
          <cx:pt idx="1045">0.18763005164650601</cx:pt>
          <cx:pt idx="1046">0.19717559743902299</cx:pt>
          <cx:pt idx="1047">0.205868773399076</cx:pt>
          <cx:pt idx="1048">0.20112793818150901</cx:pt>
          <cx:pt idx="1049">0.20268248997424099</cx:pt>
          <cx:pt idx="1050">0.21042383737120501</cx:pt>
          <cx:pt idx="1051">0.21795591333230299</cx:pt>
          <cx:pt idx="1052">0.22633785491227301</cx:pt>
          <cx:pt idx="1053">0.22812090450342801</cx:pt>
          <cx:pt idx="1054">0.22466978549327399</cx:pt>
          <cx:pt idx="1055">0.221720347187641</cx:pt>
          <cx:pt idx="1056">0.21706417762369201</cx:pt>
          <cx:pt idx="1057">0.22035878089288199</cx:pt>
          <cx:pt idx="1058">0.21062296929043001</cx:pt>
          <cx:pt idx="1059">0.20252261004570299</cx:pt>
          <cx:pt idx="1060">0.21362103394719301</cx:pt>
          <cx:pt idx="1061">0.205901219321732</cx:pt>
          <cx:pt idx="1062">0.199076269879671</cx:pt>
          <cx:pt idx="1063">0.18459789543772401</cx:pt>
          <cx:pt idx="1064">0.18446048560221101</cx:pt>
          <cx:pt idx="1065">0.192343616999886</cx:pt>
          <cx:pt idx="1066">0.20828499946125301</cx:pt>
          <cx:pt idx="1067">0.212441016310215</cx:pt>
          <cx:pt idx="1068">0.21021269957994801</cx:pt>
          <cx:pt idx="1069">0.203688840105546</cx:pt>
          <cx:pt idx="1070">0.21234217840213501</cx:pt>
          <cx:pt idx="1071">0.205331984521193</cx:pt>
          <cx:pt idx="1072">0.20327817693639599</cx:pt>
          <cx:pt idx="1073">0.21369287187116601</cx:pt>
          <cx:pt idx="1074">0.208582940645267</cx:pt>
          <cx:pt idx="1075">0.204504171458221</cx:pt>
          <cx:pt idx="1076">0.175487647005695</cx:pt>
          <cx:pt idx="1077">0.18344641684617899</cx:pt>
          <cx:pt idx="1078">0.16483079774253701</cx:pt>
          <cx:pt idx="1079">0.16387695642489999</cx:pt>
          <cx:pt idx="1080">0.18118931700737501</cx:pt>
          <cx:pt idx="1081">0.186811574642678</cx:pt>
          <cx:pt idx="1082">0.199608249997343</cx:pt>
          <cx:pt idx="1083">0.19373835383727001</cx:pt>
          <cx:pt idx="1084">0.19922582771642999</cx:pt>
          <cx:pt idx="1085">0.200807395621865</cx:pt>
          <cx:pt idx="1086">0.21848744618728999</cx:pt>
          <cx:pt idx="1087">0.22467128205788101</cx:pt>
          <cx:pt idx="1088">0.22922830813945599</cx:pt>
          <cx:pt idx="1089">0.232879884852223</cx:pt>
          <cx:pt idx="1090">0.22371529840121701</cx:pt>
          <cx:pt idx="1091">0.23021699649358601</cx:pt>
          <cx:pt idx="1092">0.24894284448161799</cx:pt>
          <cx:pt idx="1093">0.25699965163132099</cx:pt>
          <cx:pt idx="1094">0.238241312542393</cx:pt>
          <cx:pt idx="1095">0.23107462337995399</cx:pt>
          <cx:pt idx="1096">0.199114063788736</cx:pt>
          <cx:pt idx="1097">0.23377446850450001</cx:pt>
          <cx:pt idx="1098">0.24100399013645801</cx:pt>
          <cx:pt idx="1099">0.25778861261824998</cx:pt>
          <cx:pt idx="1100">0.27298168685572999</cx:pt>
          <cx:pt idx="1101">0.269492877589595</cx:pt>
          <cx:pt idx="1102">0.26710703972480399</cx:pt>
          <cx:pt idx="1103">0.26255015140276999</cx:pt>
          <cx:pt idx="1104">0.24535126574153099</cx:pt>
          <cx:pt idx="1105">0.20613401953188801</cx:pt>
          <cx:pt idx="1106">0.19478515022044199</cx:pt>
          <cx:pt idx="1107">0.20711081341072901</cx:pt>
          <cx:pt idx="1108">0.21212382344710601</cx:pt>
          <cx:pt idx="1109">0.215516228951319</cx:pt>
          <cx:pt idx="1110">0.196324263038548</cx:pt>
          <cx:pt idx="1111">0.17469707720250799</cx:pt>
          <cx:pt idx="1112">0.181233268377266</cx:pt>
          <cx:pt idx="1113">0.177326058490934</cx:pt>
          <cx:pt idx="1114">0.21742467340508101</cx:pt>
          <cx:pt idx="1115">0.20897880840521799</cx:pt>
          <cx:pt idx="1116">0.218469706275492</cx:pt>
          <cx:pt idx="1117">0.22418159729442699</cx:pt>
          <cx:pt idx="1118">0.24026658697554501</cx:pt>
          <cx:pt idx="1119">0.24740476951825099</cx:pt>
          <cx:pt idx="1120">0.24116745077320101</cx:pt>
          <cx:pt idx="1121">0.24036763987430099</cx:pt>
          <cx:pt idx="1122">0.26502532699421399</cx:pt>
          <cx:pt idx="1123">0.26074641195289699</cx:pt>
          <cx:pt idx="1124">0.29151307697553902</cx:pt>
          <cx:pt idx="1125">0.30045008043163102</cx:pt>
          <cx:pt idx="1126">0.309056287223264</cx:pt>
          <cx:pt idx="1127">0.29002538166769498</cx:pt>
          <cx:pt idx="1128">0.30736962506969201</cx:pt>
          <cx:pt idx="1129">0.30891284212941</cx:pt>
          <cx:pt idx="1130">0.304018509737422</cx:pt>
          <cx:pt idx="1131">0.29586822736377499</cx:pt>
          <cx:pt idx="1132">0.28296695188565801</cx:pt>
          <cx:pt idx="1133">0.289833330288437</cx:pt>
          <cx:pt idx="1134">0.31176693666021998</cx:pt>
          <cx:pt idx="1135">0.31444236032766998</cx:pt>
          <cx:pt idx="1136">0.32084582643864201</cx:pt>
          <cx:pt idx="1137">0.30383878135099102</cx:pt>
          <cx:pt idx="1138">0.29482697377468398</cx:pt>
          <cx:pt idx="1139">0.31049457135909098</cx:pt>
          <cx:pt idx="1140">0.32028383756053103</cx:pt>
          <cx:pt idx="1141">0.32634987860637898</cx:pt>
          <cx:pt idx="1142">0.339885334770757</cx:pt>
          <cx:pt idx="1143">0.364645360081154</cx:pt>
          <cx:pt idx="1144">0.36386655587851102</cx:pt>
          <cx:pt idx="1145">0.35791415456015502</cx:pt>
          <cx:pt idx="1146">0.35915810992199398</cx:pt>
          <cx:pt idx="1147">0.374997977224586</cx:pt>
          <cx:pt idx="1148">0.393538052105047</cx:pt>
          <cx:pt idx="1149">0.38573431891944998</cx:pt>
          <cx:pt idx="1150">0.400430285790767</cx:pt>
          <cx:pt idx="1151">0.40190600887637601</cx:pt>
          <cx:pt idx="1152">0.38247789533452398</cx:pt>
          <cx:pt idx="1153">0.395789489518098</cx:pt>
          <cx:pt idx="1154">0.41083535990909897</cx:pt>
          <cx:pt idx="1155">0.40808810563166098</cx:pt>
          <cx:pt idx="1156">0.402897630085643</cx:pt>
          <cx:pt idx="1157">0.41759813094952702</cx:pt>
          <cx:pt idx="1158">0.437603422269017</cx:pt>
          <cx:pt idx="1159">0.43623259735143799</cx:pt>
          <cx:pt idx="1160">0.44797246256045198</cx:pt>
          <cx:pt idx="1161">0.44821487280882799</cx:pt>
          <cx:pt idx="1162">0.45566451016051301</cx:pt>
          <cx:pt idx="1163">0.47462257738651298</cx:pt>
          <cx:pt idx="1164">0.48895367157074499</cx:pt>
          <cx:pt idx="1165">0.494748710070465</cx:pt>
          <cx:pt idx="1166">0.47419618472730202</cx:pt>
          <cx:pt idx="1167">0.48144329719453</cx:pt>
          <cx:pt idx="1168">0.47389477121786</cx:pt>
          <cx:pt idx="1169">0.48396438633402</cx:pt>
          <cx:pt idx="1170">0.49892848336465101</cx:pt>
          <cx:pt idx="1171">0.51318255178612904</cx:pt>
          <cx:pt idx="1172">0.519938410300538</cx:pt>
          <cx:pt idx="1173">0.52867667593122003</cx:pt>
          <cx:pt idx="1174">0.51569337638526103</cx:pt>
          <cx:pt idx="1175">0.51730916283561601</cx:pt>
          <cx:pt idx="1176">0.52796235078808595</cx:pt>
          <cx:pt idx="1177">0.53253060002110297</cx:pt>
          <cx:pt idx="1178">0.52907269208643803</cx:pt>
          <cx:pt idx="1179">0.50648640169977199</cx:pt>
          <cx:pt idx="1180">0.51494712860207703</cx:pt>
          <cx:pt idx="1181">0.51094306389230404</cx:pt>
          <cx:pt idx="1182">0.50304868593825203</cx:pt>
          <cx:pt idx="1183">0.53040192261303198</cx:pt>
          <cx:pt idx="1184">0.54267060503671605</cx:pt>
          <cx:pt idx="1185">0.55471211317777602</cx:pt>
          <cx:pt idx="1186">0.55936323247097497</cx:pt>
          <cx:pt idx="1187">0.56140756477622999</cx:pt>
          <cx:pt idx="1188">0.551695291695529</cx:pt>
          <cx:pt idx="1189">0.56925073743781995</cx:pt>
          <cx:pt idx="1190">0.57834927166545902</cx:pt>
          <cx:pt idx="1191">0.57647638943756097</cx:pt>
          <cx:pt idx="1192">0.56707164472202198</cx:pt>
          <cx:pt idx="1193">0.57667070194951198</cx:pt>
          <cx:pt idx="1194">0.57055908186854998</cx:pt>
          <cx:pt idx="1195">0.59475618073201597</cx:pt>
          <cx:pt idx="1196">0.61706498285576195</cx:pt>
          <cx:pt idx="1197">0.62925487401762703</cx:pt>
          <cx:pt idx="1198">0.622501282052486</cx:pt>
          <cx:pt idx="1199">0.61642663451312696</cx:pt>
          <cx:pt idx="1200">0.61688297113026103</cx:pt>
          <cx:pt idx="1201">0.63244238265075603</cx:pt>
          <cx:pt idx="1202">0.63734175119944902</cx:pt>
          <cx:pt idx="1203">0.64623284494187705</cx:pt>
          <cx:pt idx="1204">0.658380972117526</cx:pt>
          <cx:pt idx="1205">0.657333177502191</cx:pt>
          <cx:pt idx="1206">0.65252001490232103</cx:pt>
          <cx:pt idx="1207">0.66695564766318105</cx:pt>
          <cx:pt idx="1208">0.667914028075828</cx:pt>
          <cx:pt idx="1209">0.64898406108741602</cx:pt>
          <cx:pt idx="1210">0.65986890757820504</cx:pt>
          <cx:pt idx="1211">0.67595820426901099</cx:pt>
          <cx:pt idx="1212">0.69113978751483696</cx:pt>
          <cx:pt idx="1213">0.69739943564581897</cx:pt>
          <cx:pt idx="1214">0.69442335893770601</cx:pt>
          <cx:pt idx="1215">0.68989101947793896</cx:pt>
          <cx:pt idx="1216">0.67471611284816202</cx:pt>
          <cx:pt idx="1217">0.67480240375481404</cx:pt>
          <cx:pt idx="1218">0.68575593547237901</cx:pt>
          <cx:pt idx="1219">0.68798851827666396</cx:pt>
          <cx:pt idx="1220">0.69099421622917601</cx:pt>
          <cx:pt idx="1221">0.67396574754459304</cx:pt>
          <cx:pt idx="1222">0.66439919691845695</cx:pt>
          <cx:pt idx="1223">0.67791595402416804</cx:pt>
          <cx:pt idx="1224">0.65615270873269405</cx:pt>
          <cx:pt idx="1225">0.63648865029490398</cx:pt>
          <cx:pt idx="1226">0.64494616875961197</cx:pt>
          <cx:pt idx="1227">0.64384052273981995</cx:pt>
          <cx:pt idx="1228">0.62417710184784603</cx:pt>
          <cx:pt idx="1229">0.58741734438592297</cx:pt>
          <cx:pt idx="1230">0.55199296591517399</cx:pt>
          <cx:pt idx="1231">0.57845488325428496</cx:pt>
          <cx:pt idx="1232">0.56330075146553105</cx:pt>
          <cx:pt idx="1233">0.545153767991436</cx:pt>
          <cx:pt idx="1234">0.53746497492012302</cx:pt>
          <cx:pt idx="1235">0.51679450226719703</cx:pt>
          <cx:pt idx="1236">0.48765889600809498</cx:pt>
          <cx:pt idx="1237">0.49026801051924002</cx:pt>
          <cx:pt idx="1238">0.505273970493748</cx:pt>
          <cx:pt idx="1239">0.52480909061871395</cx:pt>
          <cx:pt idx="1240">0.55087656918892203</cx:pt>
          <cx:pt idx="1241">0.55795664639800902</cx:pt>
          <cx:pt idx="1242">0.534742479916263</cx:pt>
          <cx:pt idx="1243">0.54130318270198496</cx:pt>
          <cx:pt idx="1244">0.56705313502847599</cx:pt>
          <cx:pt idx="1245">0.57693005273666398</cx:pt>
          <cx:pt idx="1246">0.58200677998554895</cx:pt>
          <cx:pt idx="1247">0.58409517863250604</cx:pt>
          <cx:pt idx="1248">0.59398554963153005</cx:pt>
          <cx:pt idx="1249">0.58415990757202596</cx:pt>
          <cx:pt idx="1250">0.55093883014601297</cx:pt>
          <cx:pt idx="1251">0.53328848371896997</cx:pt>
          <cx:pt idx="1252">0.55267565375399197</cx:pt>
          <cx:pt idx="1253">0.52950350051987505</cx:pt>
          <cx:pt idx="1254">0.52554904946918002</cx:pt>
          <cx:pt idx="1255">0.49775144387487302</cx:pt>
          <cx:pt idx="1256">0.52672634341412605</cx:pt>
          <cx:pt idx="1257">0.51838063405036106</cx:pt>
          <cx:pt idx="1258">0.51428160291762004</cx:pt>
          <cx:pt idx="1259">0.53238856294914205</cx:pt>
          <cx:pt idx="1260">0.55479979813190705</cx:pt>
          <cx:pt idx="1261">0.55351215600953196</cx:pt>
          <cx:pt idx="1262">0.54044812957728405</cx:pt>
          <cx:pt idx="1263">0.551074673149898</cx:pt>
          <cx:pt idx="1264">0.54935621322487205</cx:pt>
          <cx:pt idx="1265">0.54804887845907002</cx:pt>
          <cx:pt idx="1266">0.51879048244289905</cx:pt>
          <cx:pt idx="1267">0.53124222242190899</cx:pt>
          <cx:pt idx="1268">0.51968142754134705</cx:pt>
          <cx:pt idx="1269">0.48545897997996501</cx:pt>
          <cx:pt idx="1270">0.44020089063807999</cx:pt>
          <cx:pt idx="1271">0.39467133770632101</cx:pt>
          <cx:pt idx="1272">0.36242939287928899</cx:pt>
          <cx:pt idx="1273">0.38502929838009098</cx:pt>
          <cx:pt idx="1274">0.421248974604778</cx:pt>
          <cx:pt idx="1275">0.39653837390108898</cx:pt>
          <cx:pt idx="1276">0.36224549362764802</cx:pt>
          <cx:pt idx="1277">0.35039859150677699</cx:pt>
          <cx:pt idx="1278">0.36360283302905</cx:pt>
          <cx:pt idx="1279">0.397832352900023</cx:pt>
          <cx:pt idx="1280">0.41834169435304103</cx:pt>
          <cx:pt idx="1281">0.40904283126331997</cx:pt>
          <cx:pt idx="1282">0.41517666785569501</cx:pt>
          <cx:pt idx="1283">0.36784044183916298</cx:pt>
          <cx:pt idx="1284">0.32962826769888198</cx:pt>
          <cx:pt idx="1285">0.37441426194487099</cx:pt>
          <cx:pt idx="1286">0.376696182738606</cx:pt>
          <cx:pt idx="1287">0.392410318570381</cx:pt>
          <cx:pt idx="1288">0.42039604436620298</cx:pt>
          <cx:pt idx="1289">0.42030068532624398</cx:pt>
          <cx:pt idx="1290">0.42009759430988503</cx:pt>
          <cx:pt idx="1291">0.427971692694463</cx:pt>
          <cx:pt idx="1292">0.40373671678776302</cx:pt>
          <cx:pt idx="1293">0.43219346196054398</cx:pt>
          <cx:pt idx="1294">0.42578368953671702</cx:pt>
          <cx:pt idx="1295">0.42140153543066999</cx:pt>
          <cx:pt idx="1296">0.44983547998434897</cx:pt>
          <cx:pt idx="1297">0.45637419608635699</cx:pt>
          <cx:pt idx="1298">0.47986845546969797</cx:pt>
          <cx:pt idx="1299">0.48547765430037598</cx:pt>
          <cx:pt idx="1300">0.47721048519242698</cx:pt>
          <cx:pt idx="1301">0.49885013015001201</cx:pt>
          <cx:pt idx="1302">0.50795563957975198</cx:pt>
          <cx:pt idx="1303">0.50483567752945302</cx:pt>
          <cx:pt idx="1304">0.52013034592722696</cx:pt>
          <cx:pt idx="1305">0.48607035321613401</cx:pt>
          <cx:pt idx="1306">0.50977878377861596</cx:pt>
          <cx:pt idx="1307">0.52527597293237405</cx:pt>
          <cx:pt idx="1308">0.52322755063646398</cx:pt>
          <cx:pt idx="1309">0.53001125603461496</cx:pt>
          <cx:pt idx="1310">0.51512376093206402</cx:pt>
          <cx:pt idx="1311">0.51513176001377703</cx:pt>
          <cx:pt idx="1312">0.51376242445860498</cx:pt>
          <cx:pt idx="1313">0.50451785704006202</cx:pt>
          <cx:pt idx="1314">0.50395328637821202</cx:pt>
          <cx:pt idx="1315">0.53371378201667896</cx:pt>
          <cx:pt idx="1316">0.53015126005859503</cx:pt>
          <cx:pt idx="1317">0.547221024027846</cx:pt>
          <cx:pt idx="1318">0.55772480482592202</cx:pt>
          <cx:pt idx="1319">0.56126576443898601</cx:pt>
          <cx:pt idx="1320">0.57034931295118796</cx:pt>
          <cx:pt idx="1321">0.56704909068306697</cx:pt>
          <cx:pt idx="1322">0.55536538235182298</cx:pt>
          <cx:pt idx="1323">0.56919499120894601</cx:pt>
          <cx:pt idx="1324">0.55649306675028598</cx:pt>
          <cx:pt idx="1325">0.547178998671634</cx:pt>
          <cx:pt idx="1326">0.56508868350541597</cx:pt>
          <cx:pt idx="1327">0.56965469706979899</cx:pt>
          <cx:pt idx="1328">0.56506121288092603</cx:pt>
          <cx:pt idx="1329">0.57208421163275602</cx:pt>
          <cx:pt idx="1330">0.58412331164503695</cx:pt>
          <cx:pt idx="1331">0.57467448445184499</cx:pt>
          <cx:pt idx="1332">0.54519393859334597</cx:pt>
          <cx:pt idx="1333">0.54911323548285296</cx:pt>
          <cx:pt idx="1334">0.54618650307210503</cx:pt>
          <cx:pt idx="1335">0.53887863563674898</cx:pt>
          <cx:pt idx="1336">0.55503077223597297</cx:pt>
          <cx:pt idx="1337">0.55239252035817998</cx:pt>
          <cx:pt idx="1338">0.559910216719397</cx:pt>
          <cx:pt idx="1339">0.55230887430721098</cx:pt>
          <cx:pt idx="1340">0.54832415761839204</cx:pt>
          <cx:pt idx="1341">0.55294814667518899</cx:pt>
          <cx:pt idx="1342">0.54889566546824498</cx:pt>
          <cx:pt idx="1343">0.55521833412383004</cx:pt>
          <cx:pt idx="1344">0.56112051571548205</cx:pt>
          <cx:pt idx="1345">0.56388647012030602</cx:pt>
          <cx:pt idx="1346">0.57504990829428004</cx:pt>
          <cx:pt idx="1347">0.57423281756192601</cx:pt>
          <cx:pt idx="1348">0.57418196479689698</cx:pt>
          <cx:pt idx="1349">0.57567105609728897</cx:pt>
          <cx:pt idx="1350">0.56714924377016396</cx:pt>
          <cx:pt idx="1351">0.56898203721322804</cx:pt>
          <cx:pt idx="1352">0.56882010068951205</cx:pt>
          <cx:pt idx="1353">0.55948162757244102</cx:pt>
          <cx:pt idx="1354">0.56177839874726399</cx:pt>
          <cx:pt idx="1355">0.56645952006700395</cx:pt>
          <cx:pt idx="1356">0.55600217829603504</cx:pt>
          <cx:pt idx="1357">0.51629252902169198</cx:pt>
          <cx:pt idx="1358">0.50137835293630795</cx:pt>
          <cx:pt idx="1359">0.51181008002865003</cx:pt>
          <cx:pt idx="1360">0.46597891269935499</cx:pt>
          <cx:pt idx="1361">0.46418996971974003</cx:pt>
          <cx:pt idx="1362">0.42790760165176001</cx:pt>
          <cx:pt idx="1363">0.438875899812389</cx:pt>
          <cx:pt idx="1364">0.414969686024111</cx:pt>
          <cx:pt idx="1365">0.44596563145398699</cx:pt>
          <cx:pt idx="1366">0.42967946454686401</cx:pt>
          <cx:pt idx="1367">0.445945762032319</cx:pt>
          <cx:pt idx="1368">0.46244655832012899</cx:pt>
          <cx:pt idx="1369">0.45341324329325999</cx:pt>
          <cx:pt idx="1370">0.429545011276252</cx:pt>
          <cx:pt idx="1371">0.43941233335163099</cx:pt>
          <cx:pt idx="1372">0.44181118979592499</cx:pt>
          <cx:pt idx="1373">0.39568555806357603</cx:pt>
          <cx:pt idx="1374">0.39671964214642003</cx:pt>
          <cx:pt idx="1375">0.36792234407103003</cx:pt>
          <cx:pt idx="1376">0.39569101308131799</cx:pt>
          <cx:pt idx="1377">0.39527554392418301</cx:pt>
          <cx:pt idx="1378">0.41934228856056999</cx:pt>
          <cx:pt idx="1379">0.42357143916349699</cx:pt>
          <cx:pt idx="1380">0.43336264410082398</cx:pt>
          <cx:pt idx="1381">0.42535076533653499</cx:pt>
          <cx:pt idx="1382">0.43073990546277002</cx:pt>
          <cx:pt idx="1383">0.452737309399729</cx:pt>
          <cx:pt idx="1384">0.45605150629180702</cx:pt>
          <cx:pt idx="1385">0.44998614731497499</cx:pt>
          <cx:pt idx="1386">0.45498501587060303</cx:pt>
          <cx:pt idx="1387">0.46337249795597002</cx:pt>
          <cx:pt idx="1388">0.45673275419398102</cx:pt>
          <cx:pt idx="1389">0.45318828301510899</cx:pt>
          <cx:pt idx="1390">0.40846990122931898</cx:pt>
          <cx:pt idx="1391">0.40194578444801699</cx:pt>
          <cx:pt idx="1392">0.35907562497806</cx:pt>
          <cx:pt idx="1393">0.37721868460643498</cx:pt>
          <cx:pt idx="1394">0.40274137045723502</cx:pt>
          <cx:pt idx="1395">0.39960848517943498</cx:pt>
          <cx:pt idx="1396">0.368114581700131</cx:pt>
          <cx:pt idx="1397">0.38308930586300699</cx:pt>
          <cx:pt idx="1398">0.39814363364933703</cx:pt>
          <cx:pt idx="1399">0.38856126887736098</cx:pt>
          <cx:pt idx="1400">0.377877486876396</cx:pt>
          <cx:pt idx="1401">0.37720291285719398</cx:pt>
          <cx:pt idx="1402">0.40437214056648901</cx:pt>
          <cx:pt idx="1403">0.39655499469182498</cx:pt>
          <cx:pt idx="1404">0.39064058440343402</cx:pt>
          <cx:pt idx="1405">0.42268220130091899</cx:pt>
          <cx:pt idx="1406">0.446692685972991</cx:pt>
          <cx:pt idx="1407">0.45890749759545602</cx:pt>
          <cx:pt idx="1408">0.45760889624260997</cx:pt>
          <cx:pt idx="1409">0.46658926141579898</cx:pt>
          <cx:pt idx="1410">0.45713682048140097</cx:pt>
          <cx:pt idx="1411">0.45623436996578598</cx:pt>
          <cx:pt idx="1412">0.45218001668420699</cx:pt>
          <cx:pt idx="1413">0.44018372644884102</cx:pt>
          <cx:pt idx="1414">0.46414064851966502</cx:pt>
          <cx:pt idx="1415">0.46162760254945001</cx:pt>
          <cx:pt idx="1416">0.45359193858261299</cx:pt>
          <cx:pt idx="1417">0.47136616480662502</cx:pt>
          <cx:pt idx="1418">0.475398392976006</cx:pt>
          <cx:pt idx="1419">0.46411705690972999</cx:pt>
          <cx:pt idx="1420">0.45961118131747303</cx:pt>
          <cx:pt idx="1421">0.47220502614159499</cx:pt>
          <cx:pt idx="1422">0.467746075999462</cx:pt>
          <cx:pt idx="1423">0.47470639904272599</cx:pt>
          <cx:pt idx="1424">0.48157179892909702</cx:pt>
          <cx:pt idx="1425">0.478268207315658</cx:pt>
          <cx:pt idx="1426">0.46811655932905799</cx:pt>
          <cx:pt idx="1427">0.469737824089556</cx:pt>
          <cx:pt idx="1428">0.43827638785235501</cx:pt>
          <cx:pt idx="1429">0.42893891559036701</cx:pt>
          <cx:pt idx="1430">0.43609066115594097</cx:pt>
          <cx:pt idx="1431">0.43341539584189398</cx:pt>
          <cx:pt idx="1432">0.44100149510807801</cx:pt>
          <cx:pt idx="1433">0.43863541181890803</cx:pt>
          <cx:pt idx="1434">0.44088011065181398</cx:pt>
          <cx:pt idx="1435">0.43656894860426998</cx:pt>
          <cx:pt idx="1436">0.45651493079202399</cx:pt>
          <cx:pt idx="1437">0.45498797386543199</cx:pt>
          <cx:pt idx="1438">0.45819247828892101</cx:pt>
          <cx:pt idx="1439">0.43404339858181001</cx:pt>
          <cx:pt idx="1440">0.41320940768807102</cx:pt>
          <cx:pt idx="1441">0.413387939570309</cx:pt>
          <cx:pt idx="1442">0.40782515326117602</cx:pt>
          <cx:pt idx="1443">0.407720372659511</cx:pt>
          <cx:pt idx="1444">0.40498829017841398</cx:pt>
          <cx:pt idx="1445">0.41442413151156698</cx:pt>
          <cx:pt idx="1446">0.42105878622492099</cx:pt>
          <cx:pt idx="1447">0.40359004689491301</cx:pt>
          <cx:pt idx="1448">0.40854538841849097</cx:pt>
          <cx:pt idx="1449">0.41653473270966301</cx:pt>
          <cx:pt idx="1450">0.42569255859927901</cx:pt>
          <cx:pt idx="1451">0.41940439670461499</cx:pt>
          <cx:pt idx="1452">0.41708595073464599</cx:pt>
          <cx:pt idx="1453">0.422326291330757</cx:pt>
          <cx:pt idx="1454">0.41782688410225599</cx:pt>
          <cx:pt idx="1455">0.41461216273066298</cx:pt>
          <cx:pt idx="1456">0.44206343179924001</cx:pt>
          <cx:pt idx="1457">0.44438385850370199</cx:pt>
          <cx:pt idx="1458">0.44939480699163498</cx:pt>
          <cx:pt idx="1459">0.45349405480518101</cx:pt>
          <cx:pt idx="1460">0.45208436680563502</cx:pt>
          <cx:pt idx="1461">0.45144235036943597</cx:pt>
          <cx:pt idx="1462">0.44888765101456901</cx:pt>
          <cx:pt idx="1463">0.41352640546802999</cx:pt>
          <cx:pt idx="1464">0.41455414480006397</cx:pt>
          <cx:pt idx="1465">0.43393838497669301</cx:pt>
          <cx:pt idx="1466">0.42656218473638702</cx:pt>
          <cx:pt idx="1467">0.43236276962065801</cx:pt>
          <cx:pt idx="1468">0.43148974113406502</cx:pt>
          <cx:pt idx="1469">0.42398144169147101</cx:pt>
          <cx:pt idx="1470">0.43816612878108901</cx:pt>
          <cx:pt idx="1471">0.43623866366313602</cx:pt>
          <cx:pt idx="1472">0.43355655167615798</cx:pt>
          <cx:pt idx="1473">0.45021073945412998</cx:pt>
          <cx:pt idx="1474">0.45638743904254497</cx:pt>
          <cx:pt idx="1475">0.45468461227954898</cx:pt>
          <cx:pt idx="1476">0.45909111720584</cx:pt>
          <cx:pt idx="1477">0.455027164265909</cx:pt>
          <cx:pt idx="1478">0.46412372949492797</cx:pt>
          <cx:pt idx="1479">0.46348240268135998</cx:pt>
          <cx:pt idx="1480">0.46241394386052498</cx:pt>
          <cx:pt idx="1481">0.46057588402818</cx:pt>
          <cx:pt idx="1482">0.46179976614580898</cx:pt>
          <cx:pt idx="1483">0.45684759856268897</cx:pt>
          <cx:pt idx="1484">0.46379991759197697</cx:pt>
          <cx:pt idx="1485">0.47271911013057399</cx:pt>
          <cx:pt idx="1486">0.47449198217767402</cx:pt>
          <cx:pt idx="1487">0.46769152887377902</cx:pt>
          <cx:pt idx="1488">0.46439978114300701</cx:pt>
          <cx:pt idx="1489">0.47001744718674499</cx:pt>
          <cx:pt idx="1490">0.46880634418247802</cx:pt>
          <cx:pt idx="1491">0.46800737088588301</cx:pt>
          <cx:pt idx="1492">0.46443025085788903</cx:pt>
          <cx:pt idx="1493">0.46344919708711702</cx:pt>
          <cx:pt idx="1494">0.471373121888091</cx:pt>
          <cx:pt idx="1495">0.44092083738133198</cx:pt>
          <cx:pt idx="1496">0.43683384554413901</cx:pt>
          <cx:pt idx="1497">0.43223492893933801</cx:pt>
          <cx:pt idx="1498">0.42595109802451298</cx:pt>
          <cx:pt idx="1499">0.42976366804308502</cx:pt>
          <cx:pt idx="1500">0.42843836354546799</cx:pt>
          <cx:pt idx="1501">0.43416511242212302</cx:pt>
          <cx:pt idx="1502">0.42863917726185402</cx:pt>
          <cx:pt idx="1503">0.43441528512705802</cx:pt>
          <cx:pt idx="1504">0.44069222396791802</cx:pt>
          <cx:pt idx="1505">0.43611097982640101</cx:pt>
          <cx:pt idx="1506">0.42710170937935998</cx:pt>
          <cx:pt idx="1507">0.43261694260540201</cx:pt>
          <cx:pt idx="1508">0.45056294173246397</cx:pt>
          <cx:pt idx="1509">0.45253119355084898</cx:pt>
          <cx:pt idx="1510">0.45429121975187797</cx:pt>
          <cx:pt idx="1511">0.45265503085491599</cx:pt>
          <cx:pt idx="1512">0.45339043326638101</cx:pt>
          <cx:pt idx="1513">0.44401983943895901</cx:pt>
          <cx:pt idx="1514">0.44574800911433199</cx:pt>
          <cx:pt idx="1515">0.45030202949588699</cx:pt>
          <cx:pt idx="1516">0.44740060348701699</cx:pt>
          <cx:pt idx="1517">0.44969428002935402</cx:pt>
          <cx:pt idx="1518">0.45056018602954501</cx:pt>
          <cx:pt idx="1519">0.45114352746556502</cx:pt>
          <cx:pt idx="1520">0.45019869894395198</cx:pt>
          <cx:pt idx="1521">0.44756932251300302</cx:pt>
          <cx:pt idx="1522">0.44490521485293499</cx:pt>
          <cx:pt idx="1523">0.44791555756326801</cx:pt>
          <cx:pt idx="1524">0.457885845880737</cx:pt>
          <cx:pt idx="1525">0.45524298016367498</cx:pt>
          <cx:pt idx="1526">0.45803969294813301</cx:pt>
          <cx:pt idx="1527">0.45299616380998797</cx:pt>
          <cx:pt idx="1528">0.43836121335052802</cx:pt>
          <cx:pt idx="1529">0.43844104110783999</cx:pt>
          <cx:pt idx="1530">0.43809775165686898</cx:pt>
          <cx:pt idx="1531">0.443458264845075</cx:pt>
          <cx:pt idx="1532">0.44170981527330899</cx:pt>
          <cx:pt idx="1533">0.44266494490851799</cx:pt>
          <cx:pt idx="1534">0.44428187871180003</cx:pt>
          <cx:pt idx="1535">0.44121223643757701</cx:pt>
          <cx:pt idx="1536">0.43236544349710299</cx:pt>
          <cx:pt idx="1537">0.43711242930806798</cx:pt>
          <cx:pt idx="1538">0.43680331347318302</cx:pt>
          <cx:pt idx="1539">0.43852372396774902</cx:pt>
          <cx:pt idx="1540">0.439494469745351</cx:pt>
          <cx:pt idx="1541">0.45435892466681599</cx:pt>
          <cx:pt idx="1542">0.45494927089491299</cx:pt>
          <cx:pt idx="1543">0.45465919350495598</cx:pt>
          <cx:pt idx="1544">0.454383136214568</cx:pt>
          <cx:pt idx="1545">0.45081734934443801</cx:pt>
          <cx:pt idx="1546">0.44413832614806598</cx:pt>
          <cx:pt idx="1547">0.45179522150762802</cx:pt>
          <cx:pt idx="1548">0.44847549784659302</cx:pt>
          <cx:pt idx="1549">0.45057396426772001</cx:pt>
          <cx:pt idx="1550">0.447485735874802</cx:pt>
          <cx:pt idx="1551">0.45245830726330299</cx:pt>
          <cx:pt idx="1552">0.45230998719665899</cx:pt>
          <cx:pt idx="1553">0.44837021679630001</cx:pt>
          <cx:pt idx="1554">0.44786066474010899</cx:pt>
          <cx:pt idx="1555">0.44351480743112298</cx:pt>
          <cx:pt idx="1556">0.44205309849242502</cx:pt>
          <cx:pt idx="1557">0.44633092374866001</cx:pt>
          <cx:pt idx="1558">0.43857996579387099</cx:pt>
          <cx:pt idx="1559">0.44034934295009398</cx:pt>
          <cx:pt idx="1560">0.43827376937380502</cx:pt>
          <cx:pt idx="1561">0.43433749503004498</cx:pt>
          <cx:pt idx="1562">0.43959925647687698</cx:pt>
          <cx:pt idx="1563">0.43261801120138199</cx:pt>
          <cx:pt idx="1564">0.437773716582817</cx:pt>
          <cx:pt idx="1565">0.438765091818898</cx:pt>
          <cx:pt idx="1566">0.44255021312068399</cx:pt>
          <cx:pt idx="1567">0.44705575184692298</cx:pt>
          <cx:pt idx="1568">0.44785813485381398</cx:pt>
          <cx:pt idx="1569">0.44289941799531302</cx:pt>
          <cx:pt idx="1570">0.44158770320117102</cx:pt>
          <cx:pt idx="1571">0.44019776995468701</cx:pt>
          <cx:pt idx="1572">0.44663704147266903</cx:pt>
          <cx:pt idx="1573">0.44358521258877498</cx:pt>
          <cx:pt idx="1574">0.43863959598011198</cx:pt>
          <cx:pt idx="1575">0.444052671983937</cx:pt>
          <cx:pt idx="1576">0.44367203820788498</cx:pt>
          <cx:pt idx="1577">0.44220444317715701</cx:pt>
          <cx:pt idx="1578">0.44800533565668899</cx:pt>
          <cx:pt idx="1579">0.447721992787116</cx:pt>
          <cx:pt idx="1580">0.43780807781093301</cx:pt>
          <cx:pt idx="1581">0.43791978834616502</cx:pt>
          <cx:pt idx="1582">0.43219399705690897</cx:pt>
          <cx:pt idx="1583">0.43557904568037098</cx:pt>
          <cx:pt idx="1584">0.43016733728627699</cx:pt>
          <cx:pt idx="1585">0.42614491820516098</cx:pt>
          <cx:pt idx="1586">0.392746202243001</cx:pt>
          <cx:pt idx="1587">0.39294443495682402</cx:pt>
          <cx:pt idx="1588">0.38615267844407702</cx:pt>
          <cx:pt idx="1589">0.390121233653903</cx:pt>
          <cx:pt idx="1590">0.39691528957571398</cx:pt>
          <cx:pt idx="1591">0.39152434177525403</cx:pt>
          <cx:pt idx="1592">0.39210356549966302</cx:pt>
          <cx:pt idx="1593">0.39497234618689803</cx:pt>
          <cx:pt idx="1594">0.39332078186176</cx:pt>
          <cx:pt idx="1595">0.38660925003761598</cx:pt>
          <cx:pt idx="1596">0.389551552953047</cx:pt>
          <cx:pt idx="1597">0.38787998391766398</cx:pt>
          <cx:pt idx="1598">0.38429418832289403</cx:pt>
          <cx:pt idx="1599">0.38494944671391901</cx:pt>
          <cx:pt idx="1600">0.38583315575624699</cx:pt>
          <cx:pt idx="1601">0.38620739537146198</cx:pt>
          <cx:pt idx="1602">0.39493248827605498</cx:pt>
          <cx:pt idx="1603">0.39261651617641802</cx:pt>
          <cx:pt idx="1604">0.38676183060818398</cx:pt>
          <cx:pt idx="1605">0.38569552060336199</cx:pt>
          <cx:pt idx="1606">0.382566267486945</cx:pt>
          <cx:pt idx="1607">0.37806326825894099</cx:pt>
          <cx:pt idx="1608">0.375678206924071</cx:pt>
          <cx:pt idx="1609">0.36575385322126502</cx:pt>
          <cx:pt idx="1610">0.34181778200338497</cx:pt>
          <cx:pt idx="1611">0.35486275986374399</cx:pt>
          <cx:pt idx="1612">0.34714510744059102</cx:pt>
          <cx:pt idx="1613">0.34656186623575203</cx:pt>
          <cx:pt idx="1614">0.35928087772297801</cx:pt>
          <cx:pt idx="1615">0.36151340164343698</cx:pt>
          <cx:pt idx="1616">0.35255686095078198</cx:pt>
          <cx:pt idx="1617">0.35584027564399801</cx:pt>
          <cx:pt idx="1618">0.361143592092595</cx:pt>
          <cx:pt idx="1619">0.357919525915051</cx:pt>
          <cx:pt idx="1620">0.36592218926155901</cx:pt>
          <cx:pt idx="1621">0.36212487236874702</cx:pt>
          <cx:pt idx="1622">0.36698164594036398</cx:pt>
          <cx:pt idx="1623">0.37043908718031598</cx:pt>
          <cx:pt idx="1624">0.367332937852345</cx:pt>
          <cx:pt idx="1625">0.370306903372846</cx:pt>
          <cx:pt idx="1626">0.36889373463453401</cx:pt>
          <cx:pt idx="1627">0.36321138136197301</cx:pt>
          <cx:pt idx="1628">0.36498074413569698</cx:pt>
          <cx:pt idx="1629">0.360002358104137</cx:pt>
          <cx:pt idx="1630">0.36408663901157601</cx:pt>
          <cx:pt idx="1631">0.372731435637701</cx:pt>
          <cx:pt idx="1632">0.37237071850794501</cx:pt>
          <cx:pt idx="1633">0.37431883009289102</cx:pt>
          <cx:pt idx="1634">0.37835135336606202</cx:pt>
          <cx:pt idx="1635">0.37458520639318099</cx:pt>
          <cx:pt idx="1636">0.37471118766130201</cx:pt>
          <cx:pt idx="1637">0.37626747686633699</cx:pt>
          <cx:pt idx="1638">0.37251180727564198</cx:pt>
          <cx:pt idx="1639">0.37507738725885997</cx:pt>
          <cx:pt idx="1640">0.38605563352643901</cx:pt>
          <cx:pt idx="1641">0.390737663985257</cx:pt>
          <cx:pt idx="1642">0.38663647537620799</cx:pt>
          <cx:pt idx="1643">0.38328205666236298</cx:pt>
          <cx:pt idx="1644">0.38203761964632199</cx:pt>
          <cx:pt idx="1645">0.38858168244541402</cx:pt>
          <cx:pt idx="1646">0.38456729057830202</cx:pt>
          <cx:pt idx="1647">0.38450344692073002</cx:pt>
          <cx:pt idx="1648">0.38729084154350601</cx:pt>
          <cx:pt idx="1649">0.38192773000024099</cx:pt>
          <cx:pt idx="1650">0.38324206406765599</cx:pt>
          <cx:pt idx="1651">0.38552138452243601</cx:pt>
          <cx:pt idx="1652">0.38158481466425798</cx:pt>
          <cx:pt idx="1653">0.38151793818132601</cx:pt>
          <cx:pt idx="1654">0.38679515848464002</cx:pt>
          <cx:pt idx="1655">0.38125085942272802</cx:pt>
          <cx:pt idx="1656">0.38024347927696101</cx:pt>
          <cx:pt idx="1657">0.37537112614489399</cx:pt>
          <cx:pt idx="1658">0.36366329022708899</cx:pt>
          <cx:pt idx="1659">0.36821300848548999</cx:pt>
          <cx:pt idx="1660">0.37985998272298899</cx:pt>
          <cx:pt idx="1661">0.38020264530847397</cx:pt>
          <cx:pt idx="1662">0.38078038651143498</cx:pt>
          <cx:pt idx="1663">0.369901979695476</cx:pt>
          <cx:pt idx="1664">0.37160475292220901</cx:pt>
          <cx:pt idx="1665">0.36493951404119002</cx:pt>
          <cx:pt idx="1666">0.369250699825593</cx:pt>
          <cx:pt idx="1667">0.36155933981763699</cx:pt>
          <cx:pt idx="1668">0.35500540764362298</cx:pt>
          <cx:pt idx="1669">0.34799824716195898</cx:pt>
          <cx:pt idx="1670">0.34700168599229297</cx:pt>
          <cx:pt idx="1671">0.34876896221877501</cx:pt>
          <cx:pt idx="1672">0.34473778884075601</cx:pt>
          <cx:pt idx="1673">0.33420416790590701</cx:pt>
          <cx:pt idx="1674">0.33748363819654198</cx:pt>
          <cx:pt idx="1675">0.33806959206649001</cx:pt>
          <cx:pt idx="1676">0.346130075377028</cx:pt>
          <cx:pt idx="1677">0.34888986723967103</cx:pt>
          <cx:pt idx="1678">0.34893056933376398</cx:pt>
          <cx:pt idx="1679">0.34525296864348698</cx:pt>
          <cx:pt idx="1680">0.34441602264246401</cx:pt>
          <cx:pt idx="1681">0.33723611340964099</cx:pt>
          <cx:pt idx="1682">0.32631195371542598</cx:pt>
          <cx:pt idx="1683">0.33146321745442398</cx:pt>
          <cx:pt idx="1684">0.319698450787675</cx:pt>
          <cx:pt idx="1685">0.32011820494894699</cx:pt>
          <cx:pt idx="1686">0.32096664556740501</cx:pt>
          <cx:pt idx="1687">0.32249686402933803</cx:pt>
          <cx:pt idx="1688">0.33604908811060102</cx:pt>
          <cx:pt idx="1689">0.33885346131918898</cx:pt>
          <cx:pt idx="1690">0.335524080007433</cx:pt>
          <cx:pt idx="1691">0.330938655835817</cx:pt>
          <cx:pt idx="1692">0.326073460105399</cx:pt>
          <cx:pt idx="1693">0.31463567892069899</cx:pt>
          <cx:pt idx="1694">0.321597443823257</cx:pt>
          <cx:pt idx="1695">0.32213785511667598</cx:pt>
          <cx:pt idx="1696">0.31517980068330198</cx:pt>
          <cx:pt idx="1697">0.31677073782074899</cx:pt>
          <cx:pt idx="1698">0.30284074867745597</cx:pt>
          <cx:pt idx="1699">0.309804049597735</cx:pt>
          <cx:pt idx="1700">0.31580732886955998</cx:pt>
          <cx:pt idx="1701">0.317801232726526</cx:pt>
          <cx:pt idx="1702">0.33048321073439102</cx:pt>
          <cx:pt idx="1703">0.32857965255988902</cx:pt>
          <cx:pt idx="1704">0.32909745972295601</cx:pt>
          <cx:pt idx="1705">0.32131967161964597</cx:pt>
          <cx:pt idx="1706">0.32890944890923002</cx:pt>
          <cx:pt idx="1707">0.32703698363161998</cx:pt>
          <cx:pt idx="1708">0.33653089579484402</cx:pt>
          <cx:pt idx="1709">0.33425614261154601</cx:pt>
          <cx:pt idx="1710">0.33658247135803798</cx:pt>
          <cx:pt idx="1711">0.33824985321061801</cx:pt>
          <cx:pt idx="1712">0.33959693335440699</cx:pt>
          <cx:pt idx="1713">0.32993527621461199</cx:pt>
          <cx:pt idx="1714">0.33328969860389501</cx:pt>
          <cx:pt idx="1715">0.33835925607163098</cx:pt>
          <cx:pt idx="1716">0.33787075112292497</cx:pt>
          <cx:pt idx="1717">0.33357386726409299</cx:pt>
          <cx:pt idx="1718">0.33554089752245297</cx:pt>
          <cx:pt idx="1719">0.33719080069005097</cx:pt>
          <cx:pt idx="1720">0.34365970279615998</cx:pt>
          <cx:pt idx="1721">0.34133476862130602</cx:pt>
          <cx:pt idx="1722">0.34389027212816597</cx:pt>
          <cx:pt idx="1723">0.34473379810888</cx:pt>
          <cx:pt idx="1724">0.34346420665573701</cx:pt>
          <cx:pt idx="1725">0.33174368263299198</cx:pt>
          <cx:pt idx="1726">0.324500534415464</cx:pt>
          <cx:pt idx="1727">0.32557214897112902</cx:pt>
          <cx:pt idx="1728">0.32258320569559401</cx:pt>
          <cx:pt idx="1729">0.30966198264953598</cx:pt>
          <cx:pt idx="1730">0.27251438376661402</cx:pt>
          <cx:pt idx="1731">0.277337331522785</cx:pt>
          <cx:pt idx="1732">0.284750627830132</cx:pt>
          <cx:pt idx="1733">0.28637659726815401</cx:pt>
          <cx:pt idx="1734">0.28702500980093099</cx:pt>
          <cx:pt idx="1735">0.28545784503852301</cx:pt>
          <cx:pt idx="1736">0.28615880212867201</cx:pt>
          <cx:pt idx="1737">0.283278149171446</cx:pt>
          <cx:pt idx="1738">0.308324094008532</cx:pt>
          <cx:pt idx="1739">0.30508635850289101</cx:pt>
          <cx:pt idx="1740">0.30597742325634902</cx:pt>
          <cx:pt idx="1741">0.30788046298546301</cx:pt>
          <cx:pt idx="1742">0.30136343634427198</cx:pt>
          <cx:pt idx="1743">0.30470540616407299</cx:pt>
          <cx:pt idx="1744">0.29924438997237202</cx:pt>
          <cx:pt idx="1745">0.30442872257016801</cx:pt>
          <cx:pt idx="1746">0.31626363302164201</cx:pt>
          <cx:pt idx="1747">0.31650718065651101</cx:pt>
          <cx:pt idx="1748">0.31285136330158497</cx:pt>
          <cx:pt idx="1749">0.30830368683470399</cx:pt>
          <cx:pt idx="1750">0.32810503011516401</cx:pt>
          <cx:pt idx="1751">0.33000550270767998</cx:pt>
          <cx:pt idx="1752">0.33977643604608299</cx:pt>
          <cx:pt idx="1753">0.34273340074185699</cx:pt>
          <cx:pt idx="1754">0.33855017929488701</cx:pt>
          <cx:pt idx="1755">0.34123092141023997</cx:pt>
          <cx:pt idx="1756">0.33603986918838502</cx:pt>
          <cx:pt idx="1757">0.33326664329195399</cx:pt>
          <cx:pt idx="1758">0.32894962302708602</cx:pt>
          <cx:pt idx="1759">0.33529375196269301</cx:pt>
          <cx:pt idx="1760">0.34609682886931598</cx:pt>
          <cx:pt idx="1761">0.34208495869602301</cx:pt>
          <cx:pt idx="1762">0.344603930272461</cx:pt>
          <cx:pt idx="1763">0.34841291852091499</cx:pt>
          <cx:pt idx="1764">0.35395716391904503</cx:pt>
          <cx:pt idx="1765">0.36025698205564899</cx:pt>
          <cx:pt idx="1766">0.36078105109470099</cx:pt>
          <cx:pt idx="1767">0.36672509285644</cx:pt>
          <cx:pt idx="1768">0.36254618973104002</cx:pt>
          <cx:pt idx="1769">0.36081885616926501</cx:pt>
          <cx:pt idx="1770">0.36456072990611399</cx:pt>
          <cx:pt idx="1771">0.360551038875838</cx:pt>
          <cx:pt idx="1772">0.361887987094481</cx:pt>
          <cx:pt idx="1773">0.35877086015694298</cx:pt>
          <cx:pt idx="1774">0.35753406566854401</cx:pt>
          <cx:pt idx="1775">0.36403314287897698</cx:pt>
          <cx:pt idx="1776">0.35912689084550697</cx:pt>
          <cx:pt idx="1777">0.36331632014453202</cx:pt>
          <cx:pt idx="1778">0.35655124297711299</cx:pt>
          <cx:pt idx="1779">0.35436370450559301</cx:pt>
          <cx:pt idx="1780">0.34637802242792398</cx:pt>
          <cx:pt idx="1781">0.34489769879159299</cx:pt>
          <cx:pt idx="1782">0.35036735364562099</cx:pt>
          <cx:pt idx="1783">0.35029425511721501</cx:pt>
          <cx:pt idx="1784">0.35455639441993397</cx:pt>
          <cx:pt idx="1785">0.36236262778277101</cx:pt>
          <cx:pt idx="1786">0.37154730305379302</cx:pt>
          <cx:pt idx="1787">0.36629012133571398</cx:pt>
          <cx:pt idx="1788">0.36576834084373799</cx:pt>
          <cx:pt idx="1789">0.37435885135070501</cx:pt>
          <cx:pt idx="1790">0.35994035330690499</cx:pt>
          <cx:pt idx="1791">0.35799840947584499</cx:pt>
          <cx:pt idx="1792">0.35496301009989101</cx:pt>
          <cx:pt idx="1793">0.35304190160565901</cx:pt>
          <cx:pt idx="1794">0.35909887288373799</cx:pt>
          <cx:pt idx="1795">0.36535855991022298</cx:pt>
          <cx:pt idx="1796">0.36633750729876002</cx:pt>
          <cx:pt idx="1797">0.37016992372669</cx:pt>
          <cx:pt idx="1798">0.36933180797601201</cx:pt>
          <cx:pt idx="1799">0.36450982703252</cx:pt>
          <cx:pt idx="1800">0.35073259969645199</cx:pt>
          <cx:pt idx="1801">0.355524877080938</cx:pt>
          <cx:pt idx="1802">0.356543203073304</cx:pt>
          <cx:pt idx="1803">0.34777320419037999</cx:pt>
          <cx:pt idx="1804">0.34257860140924501</cx:pt>
          <cx:pt idx="1805">0.34873827137914898</cx:pt>
          <cx:pt idx="1806">0.35180893309884997</cx:pt>
          <cx:pt idx="1807">0.35426607070639698</cx:pt>
          <cx:pt idx="1808">0.36042464998226997</cx:pt>
          <cx:pt idx="1809">0.365983440866053</cx:pt>
          <cx:pt idx="1810">0.36791442004564401</cx:pt>
          <cx:pt idx="1811">0.36467651278179503</cx:pt>
          <cx:pt idx="1812">0.354936146230933</cx:pt>
          <cx:pt idx="1813">0.35843188867140002</cx:pt>
          <cx:pt idx="1814">0.34291148932128102</cx:pt>
          <cx:pt idx="1815">0.35204649571678898</cx:pt>
          <cx:pt idx="1816">0.35107328873465099</cx:pt>
          <cx:pt idx="1817">0.34981890635267499</cx:pt>
          <cx:pt idx="1818">0.32859132435559801</cx:pt>
          <cx:pt idx="1819">0.32402497912245198</cx:pt>
          <cx:pt idx="1820">0.31567281380907802</cx:pt>
          <cx:pt idx="1821">0.32824953190525302</cx:pt>
          <cx:pt idx="1822">0.32581190272966798</cx:pt>
          <cx:pt idx="1823">0.31930728639684802</cx:pt>
          <cx:pt idx="1824">0.332252885700631</cx:pt>
          <cx:pt idx="1825">0.32970597832175402</cx:pt>
          <cx:pt idx="1826">0.31477399190953897</cx:pt>
          <cx:pt idx="1827">0.32465313856052702</cx:pt>
          <cx:pt idx="1828">0.32186930268990199</cx:pt>
          <cx:pt idx="1829">0.32760775097963002</cx:pt>
          <cx:pt idx="1830">0.33679606658217798</cx:pt>
          <cx:pt idx="1831">0.33005087199807298</cx:pt>
          <cx:pt idx="1832">0.33279556026603702</cx:pt>
          <cx:pt idx="1833">0.32842791970614699</cx:pt>
          <cx:pt idx="1834">0.32452382132197899</cx:pt>
          <cx:pt idx="1835">0.32326102411357499</cx:pt>
          <cx:pt idx="1836">0.329980617761789</cx:pt>
          <cx:pt idx="1837">0.32393263245581799</cx:pt>
          <cx:pt idx="1838">0.32669887327529001</cx:pt>
          <cx:pt idx="1839">0.32276465330500198</cx:pt>
          <cx:pt idx="1840">0.31368761696907199</cx:pt>
          <cx:pt idx="1841">0.31486391021710203</cx:pt>
          <cx:pt idx="1842">0.309530974607445</cx:pt>
          <cx:pt idx="1843">0.30944451846471399</cx:pt>
          <cx:pt idx="1844">0.31245255760983898</cx:pt>
          <cx:pt idx="1845">0.31906503793528201</cx:pt>
          <cx:pt idx="1846">0.32881656288287398</cx:pt>
          <cx:pt idx="1847">0.328526937376376</cx:pt>
          <cx:pt idx="1848">0.33106526884230397</cx:pt>
          <cx:pt idx="1849">0.33281994104385798</cx:pt>
          <cx:pt idx="1850">0.331869102096501</cx:pt>
          <cx:pt idx="1851">0.32720572368305301</cx:pt>
          <cx:pt idx="1852">0.332109471998352</cx:pt>
          <cx:pt idx="1853">0.32517890693031598</cx:pt>
          <cx:pt idx="1854">0.30450435683479798</cx:pt>
          <cx:pt idx="1855">0.30328792122374798</cx:pt>
          <cx:pt idx="1856">0.30826199528551201</cx:pt>
          <cx:pt idx="1857">0.30665702954640001</cx:pt>
          <cx:pt idx="1858">0.30270019852562802</cx:pt>
          <cx:pt idx="1859">0.31850364265863701</cx:pt>
          <cx:pt idx="1860">0.318355225533691</cx:pt>
          <cx:pt idx="1861">0.33543928331668998</cx:pt>
          <cx:pt idx="1862">0.334543640816229</cx:pt>
          <cx:pt idx="1863">0.33672875329225699</cx:pt>
          <cx:pt idx="1864">0.33045289264316902</cx:pt>
          <cx:pt idx="1865">0.323927246368517</cx:pt>
          <cx:pt idx="1866">0.305480223416291</cx:pt>
          <cx:pt idx="1867">0.29006804564655098</cx:pt>
          <cx:pt idx="1868">0.29216828404446699</cx:pt>
          <cx:pt idx="1869">0.28623402242434298</cx:pt>
          <cx:pt idx="1870">0.24596754891587599</cx:pt>
          <cx:pt idx="1871">0.25449692133811103</cx:pt>
          <cx:pt idx="1872">0.26586519918263901</cx:pt>
          <cx:pt idx="1873">0.243313229642108</cx:pt>
          <cx:pt idx="1874">0.26882361518042802</cx:pt>
          <cx:pt idx="1875">0.26904958783963101</cx:pt>
          <cx:pt idx="1876">0.26824609657418103</cx:pt>
          <cx:pt idx="1877">0.28176376580100798</cx:pt>
          <cx:pt idx="1878">0.27792036897607197</cx:pt>
          <cx:pt idx="1879">0.30310874221808098</cx:pt>
          <cx:pt idx="1880">0.308859847483968</cx:pt>
          <cx:pt idx="1881">0.31283498421614497</cx:pt>
          <cx:pt idx="1882">0.32674123087939</cx:pt>
          <cx:pt idx="1883">0.31996177889751298</cx:pt>
          <cx:pt idx="1884">0.32893232071766298</cx:pt>
          <cx:pt idx="1885">0.32964784620908999</cx:pt>
          <cx:pt idx="1886">0.32501432836810701</cx:pt>
          <cx:pt idx="1887">0.328007536826458</cx:pt>
          <cx:pt idx="1888">0.35089666037762002</cx:pt>
          <cx:pt idx="1889">0.359846133332341</cx:pt>
          <cx:pt idx="1890">0.356519769386966</cx:pt>
          <cx:pt idx="1891">0.34555020767241701</cx:pt>
          <cx:pt idx="1892">0.34817733766319803</cx:pt>
          <cx:pt idx="1893">0.338375530788812</cx:pt>
          <cx:pt idx="1894">0.34612925933460198</cx:pt>
          <cx:pt idx="1895">0.35373902377127198</cx:pt>
          <cx:pt idx="1896">0.34148155357558202</cx:pt>
          <cx:pt idx="1897">0.336884823306972</cx:pt>
          <cx:pt idx="1898">0.30184425924390501</cx:pt>
          <cx:pt idx="1899">0.32324772200167601</cx:pt>
          <cx:pt idx="1900">0.34675771777513698</cx:pt>
          <cx:pt idx="1901">0.34336221065709999</cx:pt>
          <cx:pt idx="1902">0.34586919288115697</cx:pt>
          <cx:pt idx="1903">0.36593369986146101</cx:pt>
          <cx:pt idx="1904">0.36585792240681803</cx:pt>
          <cx:pt idx="1905">0.35644825516840001</cx:pt>
          <cx:pt idx="1906">0.34395521111107202</cx:pt>
          <cx:pt idx="1907">0.34567948762988998</cx:pt>
          <cx:pt idx="1908">0.34349321481143102</cx:pt>
          <cx:pt idx="1909">0.34317312480540901</cx:pt>
          <cx:pt idx="1910">0.34039181456877199</cx:pt>
          <cx:pt idx="1911">0.33956200564695299</cx:pt>
          <cx:pt idx="1912">0.34463173287689702</cx:pt>
          <cx:pt idx="1913">0.32443577701624399</cx:pt>
          <cx:pt idx="1914">0.338717586756345</cx:pt>
          <cx:pt idx="1915">0.33799697277474899</cx:pt>
          <cx:pt idx="1916">0.32408253606598802</cx:pt>
          <cx:pt idx="1917">0.31260771242035801</cx:pt>
          <cx:pt idx="1918">0.33308015022074999</cx:pt>
          <cx:pt idx="1919">0.33767881656346799</cx:pt>
          <cx:pt idx="1920">0.32350105634943299</cx:pt>
          <cx:pt idx="1921">0.33261286939191997</cx:pt>
          <cx:pt idx="1922">0.33112181880390101</cx:pt>
          <cx:pt idx="1923">0.34035624870538</cx:pt>
          <cx:pt idx="1924">0.336017771999293</cx:pt>
          <cx:pt idx="1925">0.34945308785517698</cx:pt>
          <cx:pt idx="1926">0.35104089251363002</cx:pt>
          <cx:pt idx="1927">0.35067043012948601</cx:pt>
          <cx:pt idx="1928">0.35399484538845799</cx:pt>
          <cx:pt idx="1929">0.34322829056807103</cx:pt>
          <cx:pt idx="1930">0.34186548365017899</cx:pt>
          <cx:pt idx="1931">0.35144025488756397</cx:pt>
          <cx:pt idx="1932">0.34745879458581402</cx:pt>
          <cx:pt idx="1933">0.34194602514355898</cx:pt>
          <cx:pt idx="1934">0.34393420915017497</cx:pt>
          <cx:pt idx="1935">0.35299660538782401</cx:pt>
          <cx:pt idx="1936">0.35765896300393202</cx:pt>
          <cx:pt idx="1937">0.347210818271315</cx:pt>
          <cx:pt idx="1938">0.34452264759387802</cx:pt>
          <cx:pt idx="1939">0.33222565108796098</cx:pt>
          <cx:pt idx="1940">0.32938816083179001</cx:pt>
          <cx:pt idx="1941">0.32059072899448099</cx:pt>
          <cx:pt idx="1942">0.30192429835661599</cx:pt>
          <cx:pt idx="1943">0.30893963363629401</cx:pt>
          <cx:pt idx="1944">0.295116789962443</cx:pt>
          <cx:pt idx="1945">0.29237748334531899</cx:pt>
          <cx:pt idx="1946">0.30987776850638998</cx:pt>
          <cx:pt idx="1947">0.30874336547162601</cx:pt>
          <cx:pt idx="1948">0.30360101134147199</cx:pt>
          <cx:pt idx="1949">0.29593010293058303</cx:pt>
          <cx:pt idx="1950">0.28638006265360499</cx:pt>
          <cx:pt idx="1951">0.29644229774440001</cx:pt>
          <cx:pt idx="1952">0.285227405648323</cx:pt>
          <cx:pt idx="1953">0.27985571672688397</cx:pt>
          <cx:pt idx="1954">0.26596894721430803</cx:pt>
          <cx:pt idx="1955">0.22112590200804</cx:pt>
          <cx:pt idx="1956">0.22941732998463599</cx:pt>
          <cx:pt idx="1957">0.208089421920998</cx:pt>
          <cx:pt idx="1958">0.222390065436913</cx:pt>
          <cx:pt idx="1959">0.21678226139292101</cx:pt>
          <cx:pt idx="1960">0.22997124321066401</cx:pt>
          <cx:pt idx="1961">0.220665598909348</cx:pt>
          <cx:pt idx="1962">0.219369218826613</cx:pt>
          <cx:pt idx="1963">0.25000287854464698</cx:pt>
          <cx:pt idx="1964">0.24134273422649399</cx:pt>
          <cx:pt idx="1965">0.25019309358099201</cx:pt>
          <cx:pt idx="1966">0.23031208786042801</cx:pt>
          <cx:pt idx="1967">0.21377439201387799</cx:pt>
          <cx:pt idx="1968">0.218178910390391</cx:pt>
          <cx:pt idx="1969">0.23825248421200801</cx:pt>
          <cx:pt idx="1970">0.243534538904883</cx:pt>
          <cx:pt idx="1971">0.229030808213774</cx:pt>
          <cx:pt idx="1972">0.25368065201714002</cx:pt>
          <cx:pt idx="1973">0.25544714269684898</cx:pt>
          <cx:pt idx="1974">0.254733079248258</cx:pt>
          <cx:pt idx="1975">0.25690196751198302</cx:pt>
          <cx:pt idx="1976">0.25054834487137401</cx:pt>
          <cx:pt idx="1977">0.24214878740991</cx:pt>
          <cx:pt idx="1978">0.25132305785991199</cx:pt>
          <cx:pt idx="1979">0.25660009328963002</cx:pt>
          <cx:pt idx="1980">0.26053982499857598</cx:pt>
          <cx:pt idx="1981">0.26176784900807398</cx:pt>
          <cx:pt idx="1982">0.24972298066022999</cx:pt>
          <cx:pt idx="1983">0.24428945430591301</cx:pt>
          <cx:pt idx="1984">0.22736607044391199</cx:pt>
          <cx:pt idx="1985">0.228166191152568</cx:pt>
          <cx:pt idx="1986">0.21845607133876799</cx:pt>
          <cx:pt idx="1987">0.20201225412353499</cx:pt>
          <cx:pt idx="1988">0.18667243967949601</cx:pt>
          <cx:pt idx="1989">0.163634672651323</cx:pt>
          <cx:pt idx="1990">0.18548183881369201</cx:pt>
          <cx:pt idx="1991">0.167656197504995</cx:pt>
          <cx:pt idx="1992">0.19536169152066099</cx:pt>
          <cx:pt idx="1993">0.20286724817694499</cx:pt>
          <cx:pt idx="1994">0.21308717513101499</cx:pt>
          <cx:pt idx="1995">0.206428460039807</cx:pt>
          <cx:pt idx="1996">0.184966796547785</cx:pt>
          <cx:pt idx="1997">0.176819035655991</cx:pt>
          <cx:pt idx="1998">0.159850430779823</cx:pt>
          <cx:pt idx="1999">0.160660565907603</cx:pt>
          <cx:pt idx="2000">0.172920914630915</cx:pt>
          <cx:pt idx="2001">0.16291192083089701</cx:pt>
          <cx:pt idx="2002">0.172085426740366</cx:pt>
          <cx:pt idx="2003">0.168996129346899</cx:pt>
          <cx:pt idx="2004">0.19311312881884399</cx:pt>
          <cx:pt idx="2005">0.19293630718843199</cx:pt>
          <cx:pt idx="2006">0.18644456169239401</cx:pt>
          <cx:pt idx="2007">0.17345622107172101</cx:pt>
          <cx:pt idx="2008">0.16037417768458101</cx:pt>
          <cx:pt idx="2009">0.16531019832059199</cx:pt>
          <cx:pt idx="2010">0.172085768030523</cx:pt>
          <cx:pt idx="2011">0.15746204535336999</cx:pt>
          <cx:pt idx="2012">0.15309797473402101</cx:pt>
          <cx:pt idx="2013">0.154499743865704</cx:pt>
          <cx:pt idx="2014">0.13358386606950401</cx:pt>
          <cx:pt idx="2015">0.13628129689180399</cx:pt>
          <cx:pt idx="2016">0.130441113924255</cx:pt>
          <cx:pt idx="2017">0.13386796366020201</cx:pt>
          <cx:pt idx="2018">0.118204303885075</cx:pt>
          <cx:pt idx="2019">0.10723634616545701</cx:pt>
          <cx:pt idx="2020">0.12507874993637899</cx:pt>
          <cx:pt idx="2021">0.134566827151859</cx:pt>
          <cx:pt idx="2022">0.13158350648362299</cx:pt>
          <cx:pt idx="2023">0.14604551423373899</cx:pt>
          <cx:pt idx="2024">0.142818141336713</cx:pt>
          <cx:pt idx="2025">0.15183419346601301</cx:pt>
          <cx:pt idx="2026">0.139484130965531</cx:pt>
          <cx:pt idx="2027">0.14617911292517899</cx:pt>
          <cx:pt idx="2028">0.10980488539645999</cx:pt>
          <cx:pt idx="2029">0.104700038864664</cx:pt>
          <cx:pt idx="2030">0.105199841539105</cx:pt>
          <cx:pt idx="2031">0.045053063948633502</cx:pt>
          <cx:pt idx="2032">0.049963596026664898</cx:pt>
          <cx:pt idx="2033">0.036143285045236798</cx:pt>
          <cx:pt idx="2034">0.00957962229885281</cx:pt>
          <cx:pt idx="2035">0.021780127067856099</cx:pt>
          <cx:pt idx="2036">0</cx:pt>
          <cx:pt idx="2037">0.028316660927493</cx:pt>
          <cx:pt idx="2038">0.076389512594786102</cx:pt>
          <cx:pt idx="2039">0.060027588589626701</cx:pt>
          <cx:pt idx="2040">0.054205494375331197</cx:pt>
          <cx:pt idx="2041">0.046408499855017597</cx:pt>
          <cx:pt idx="2042">0.038546278262121002</cx:pt>
          <cx:pt idx="2043">0.028775119562126202</cx:pt>
          <cx:pt idx="2044">0.036073790346903202</cx:pt>
          <cx:pt idx="2045">0.047882275458199397</cx:pt>
          <cx:pt idx="2046">0.055840877102352901</cx:pt>
          <cx:pt idx="2047">0.099224611753320396</cx:pt>
          <cx:pt idx="2048">0.099622952711957993</cx:pt>
          <cx:pt idx="2049">0.099778320308808205</cx:pt>
          <cx:pt idx="2050">0.097543498960221797</cx:pt>
          <cx:pt idx="2051">0.086563468507493399</cx:pt>
          <cx:pt idx="2052">0.081895507724797298</cx:pt>
          <cx:pt idx="2053">0.112722712099081</cx:pt>
          <cx:pt idx="2054">0.12755100391514701</cx:pt>
          <cx:pt idx="2055">0.12357039497669201</cx:pt>
          <cx:pt idx="2056">0.135741885826692</cx:pt>
          <cx:pt idx="2057">0.13453167568706101</cx:pt>
          <cx:pt idx="2058">0.12901828743545601</cx:pt>
          <cx:pt idx="2059">0.10391340350495</cx:pt>
          <cx:pt idx="2060">0.108971683935565</cx:pt>
          <cx:pt idx="2061">0.102979806025996</cx:pt>
          <cx:pt idx="2062">0.072009637981974503</cx:pt>
          <cx:pt idx="2063">0.069035148477966199</cx:pt>
          <cx:pt idx="2064">0.076732083919452104</cx:pt>
          <cx:pt idx="2065">0.094391086250278797</cx:pt>
          <cx:pt idx="2066">0.074821497988559998</cx:pt>
          <cx:pt idx="2067">0.086424397382706297</cx:pt>
          <cx:pt idx="2068">0.115310098624418</cx:pt>
          <cx:pt idx="2069">0.11913413093783599</cx:pt>
          <cx:pt idx="2070">0.12105508686415099</cx:pt>
          <cx:pt idx="2071">0.097538804815833394</cx:pt>
          <cx:pt idx="2072">0.094347528487112003</cx:pt>
          <cx:pt idx="2073">0.084675047130499698</cx:pt>
          <cx:pt idx="2074">0.092357714657761394</cx:pt>
          <cx:pt idx="2075">0.0927996945166044</cx:pt>
          <cx:pt idx="2076">0.099374573555182005</cx:pt>
          <cx:pt idx="2077">0.073226863654344707</cx:pt>
          <cx:pt idx="2078">0.065178147326914404</cx:pt>
          <cx:pt idx="2079">0.060957287867622098</cx:pt>
          <cx:pt idx="2080">0.042809272502452797</cx:pt>
          <cx:pt idx="2081">0.049806389244891801</cx:pt>
          <cx:pt idx="2082">0.043932308187888403</cx:pt>
          <cx:pt idx="2083">0.054374794932339099</cx:pt>
          <cx:pt idx="2084">0.046291982400842098</cx:pt>
          <cx:pt idx="2085">0.039217204867261303</cx:pt>
          <cx:pt idx="2086">0.0269050815394727</cx:pt>
          <cx:pt idx="2087">0.028810690290656901</cx:pt>
          <cx:pt idx="2088">0.011613188116736201</cx:pt>
          <cx:pt idx="2089">0</cx:pt>
          <cx:pt idx="2090">0.0137885456505192</cx:pt>
          <cx:pt idx="2091">0.031599887796956799</cx:pt>
          <cx:pt idx="2092">0.028114058754729301</cx:pt>
          <cx:pt idx="2093">0.0273492619939203</cx:pt>
          <cx:pt idx="2094">0.0246235748282389</cx:pt>
          <cx:pt idx="2095">0.0266118868832508</cx:pt>
          <cx:pt idx="2096">0.0144555446816425</cx:pt>
          <cx:pt idx="2097">0.0302357032381208</cx:pt>
          <cx:pt idx="2098">0.031024107223455399</cx:pt>
          <cx:pt idx="2099">0.0187195489389319</cx:pt>
          <cx:pt idx="2100">0.032703150504535199</cx:pt>
          <cx:pt idx="2101">0.036712823589850702</cx:pt>
          <cx:pt idx="2102">0.019366349445565</cx:pt>
          <cx:pt idx="2103">0.0184943713929509</cx:pt>
          <cx:pt idx="2104">0.029381959145585002</cx:pt>
          <cx:pt idx="2105">0.029637749426271499</cx:pt>
          <cx:pt idx="2106">0.0252078360097516</cx:pt>
          <cx:pt idx="2107">0.012547525643060499</cx:pt>
          <cx:pt idx="2108">0.0023005001627777501</cx:pt>
          <cx:pt idx="2109">0</cx:pt>
          <cx:pt idx="2110">0</cx:pt>
          <cx:pt idx="2111">0</cx:pt>
          <cx:pt idx="2112">0</cx:pt>
          <cx:pt idx="2113">0</cx:pt>
          <cx:pt idx="2114">0.0030120305000578798</cx:pt>
          <cx:pt idx="2115">0</cx:pt>
          <cx:pt idx="2116">0.0053499567982518504</cx:pt>
          <cx:pt idx="2117">0</cx:pt>
          <cx:pt idx="2118">0</cx:pt>
          <cx:pt idx="2119">0</cx:pt>
          <cx:pt idx="2120">0.027634230857415301</cx:pt>
          <cx:pt idx="2121">0.078311743822830293</cx:pt>
          <cx:pt idx="2122">0.084636592591702003</cx:pt>
          <cx:pt idx="2123">0.068641656942923499</cx:pt>
          <cx:pt idx="2124">0.077897197880496399</cx:pt>
          <cx:pt idx="2125">0.096830476905305607</cx:pt>
          <cx:pt idx="2126">0.12573529370907699</cx:pt>
          <cx:pt idx="2127">0.155383513406779</cx:pt>
          <cx:pt idx="2128">0.16726951024418499</cx:pt>
          <cx:pt idx="2129">0.163293806612474</cx:pt>
          <cx:pt idx="2130">0.14411134387232</cx:pt>
          <cx:pt idx="2131">0.180429417408736</cx:pt>
          <cx:pt idx="2132">0.20151728357295801</cx:pt>
          <cx:pt idx="2133">0.164007140139765</cx:pt>
          <cx:pt idx="2134">0.14188156463797799</cx:pt>
          <cx:pt idx="2135">0.148300435414428</cx:pt>
          <cx:pt idx="2136">0.17046939291974</cx:pt>
          <cx:pt idx="2137">0.171352041516453</cx:pt>
          <cx:pt idx="2138">0.161055038805616</cx:pt>
          <cx:pt idx="2139">0.16891072565175</cx:pt>
          <cx:pt idx="2140">0.16400960784723501</cx:pt>
          <cx:pt idx="2141">0.151474019728538</cx:pt>
          <cx:pt idx="2142">0.13135589139501</cx:pt>
          <cx:pt idx="2143">0.13537750779595301</cx:pt>
          <cx:pt idx="2144">0.129555616738361</cx:pt>
          <cx:pt idx="2145">0.16385268201807099</cx:pt>
          <cx:pt idx="2146">0.195830749415637</cx:pt>
          <cx:pt idx="2147">0.192742950814251</cx:pt>
          <cx:pt idx="2148">0.19914447532180099</cx:pt>
          <cx:pt idx="2149">0.20323814801052401</cx:pt>
          <cx:pt idx="2150">0.186013825384123</cx:pt>
          <cx:pt idx="2151">0.186722311989416</cx:pt>
          <cx:pt idx="2152">0.17987643489966901</cx:pt>
          <cx:pt idx="2153">0.16264462000626501</cx:pt>
          <cx:pt idx="2154">0.16492855522821001</cx:pt>
          <cx:pt idx="2155">0.150484334035976</cx:pt>
          <cx:pt idx="2156">0.165813691397382</cx:pt>
          <cx:pt idx="2157">0.17548361154145101</cx:pt>
          <cx:pt idx="2158">0.16924827174002999</cx:pt>
          <cx:pt idx="2159">0.17469450899501199</cx:pt>
          <cx:pt idx="2160">0.165805533875134</cx:pt>
          <cx:pt idx="2161">0.15901223423209401</cx:pt>
          <cx:pt idx="2162">0.176159401356526</cx:pt>
          <cx:pt idx="2163">0.15205143158498399</cx:pt>
          <cx:pt idx="2164">0.14583517686403799</cx:pt>
          <cx:pt idx="2165">0.123520162335564</cx:pt>
          <cx:pt idx="2166">0.12792770999602801</cx:pt>
          <cx:pt idx="2167">0.052733906736993498</cx:pt>
          <cx:pt idx="2168">0.058576403618834802</cx:pt>
          <cx:pt idx="2169">0.0444152771526303</cx:pt>
          <cx:pt idx="2170">0.036353311096374102</cx:pt>
          <cx:pt idx="2171">0.076809578274890294</cx:pt>
          <cx:pt idx="2172">0.0578879976283121</cx:pt>
          <cx:pt idx="2173">0.052554480509978699</cx:pt>
          <cx:pt idx="2174">0.073681329492836706</cx:pt>
          <cx:pt idx="2175">0.076688285619778404</cx:pt>
          <cx:pt idx="2176">0.042395929367550801</cx:pt>
          <cx:pt idx="2177">0.0362454238755444</cx:pt>
          <cx:pt idx="2178">0.051991423266919003</cx:pt>
          <cx:pt idx="2179">0.048750573179331902</cx:pt>
          <cx:pt idx="2180">0.024247873274033299</cx:pt>
          <cx:pt idx="2181">0.0191803035809535</cx:pt>
          <cx:pt idx="2182">0.050870551028599102</cx:pt>
          <cx:pt idx="2183">0.059201428682474702</cx:pt>
          <cx:pt idx="2184">0.054634772782714197</cx:pt>
          <cx:pt idx="2185">0.046583039009863797</cx:pt>
          <cx:pt idx="2186">0.045564690936776703</cx:pt>
          <cx:pt idx="2187">0.036029314458397597</cx:pt>
          <cx:pt idx="2188">0.027613465050865</cx:pt>
          <cx:pt idx="2189">0.024202016487862299</cx:pt>
          <cx:pt idx="2190">0</cx:pt>
          <cx:pt idx="2191">0</cx:pt>
          <cx:pt idx="2192">0.030256498487679299</cx:pt>
          <cx:pt idx="2193">0.021407683706236001</cx:pt>
          <cx:pt idx="2194">0.025328981934079599</cx:pt>
          <cx:pt idx="2195">0.0079848276170383196</cx:pt>
          <cx:pt idx="2196">0</cx:pt>
          <cx:pt idx="2197">0</cx:pt>
          <cx:pt idx="2198">0</cx:pt>
          <cx:pt idx="2199">0</cx:pt>
          <cx:pt idx="2200">0.016631613058566499</cx:pt>
          <cx:pt idx="2201">0.0105643260906426</cx:pt>
          <cx:pt idx="2202">0</cx:pt>
          <cx:pt idx="2203">0.0028562053192428701</cx:pt>
          <cx:pt idx="2204">0.016385839431046899</cx:pt>
          <cx:pt idx="2205">0.0074466735882351602</cx:pt>
          <cx:pt idx="2206">0.0433045152668751</cx:pt>
          <cx:pt idx="2207">0.044737141705925597</cx:pt>
          <cx:pt idx="2208">0.028558948108228299</cx:pt>
          <cx:pt idx="2209">0.021198654569404399</cx:pt>
          <cx:pt idx="2210">0.0306806647382597</cx:pt>
          <cx:pt idx="2211">0.0042543074713810199</cx:pt>
          <cx:pt idx="2212">0.011557111850649801</cx:pt>
          <cx:pt idx="2213">0.0067419006423713604</cx:pt>
          <cx:pt idx="2214">0.0092114684499279703</cx:pt>
          <cx:pt idx="2215">0.0117403359954563</cx:pt>
          <cx:pt idx="2216">0.030511977729809601</cx:pt>
          <cx:pt idx="2217">0.0291349832123502</cx:pt>
          <cx:pt idx="2218">0.0322315458613446</cx:pt>
          <cx:pt idx="2219">0.015892509389436</cx:pt>
          <cx:pt idx="2220">0.027062583245167401</cx:pt>
          <cx:pt idx="2221">0.010365671934200999</cx:pt>
          <cx:pt idx="2222">0.022590468687710599</cx:pt>
          <cx:pt idx="2223">0.034411849720190298</cx:pt>
          <cx:pt idx="2224">0.042032221785249103</cx:pt>
          <cx:pt idx="2225">0.039442708901567702</cx:pt>
          <cx:pt idx="2226">0.042305756616366701</cx:pt>
          <cx:pt idx="2227">0.050551075399812302</cx:pt>
          <cx:pt idx="2228">0.044665241206438902</cx:pt>
          <cx:pt idx="2229">0.046772923509292998</cx:pt>
          <cx:pt idx="2230">0.036289070484412198</cx:pt>
          <cx:pt idx="2231">0.0203222939110041</cx:pt>
          <cx:pt idx="2232">0.0050792802357963896</cx:pt>
          <cx:pt idx="2233">0</cx:pt>
          <cx:pt idx="2234">0.0100252519051208</cx:pt>
          <cx:pt idx="2235">0</cx:pt>
          <cx:pt idx="2236">0.0101018024845943</cx:pt>
          <cx:pt idx="2237">0</cx:pt>
          <cx:pt idx="2238">0</cx:pt>
          <cx:pt idx="2239">0</cx:pt>
          <cx:pt idx="2240">0</cx:pt>
          <cx:pt idx="2241">0.0135863361332948</cx:pt>
          <cx:pt idx="2242">0.0066997705685525001</cx:pt>
          <cx:pt idx="2243">0.0056143080156187504</cx:pt>
          <cx:pt idx="2244">0.0078479290591787799</cx:pt>
          <cx:pt idx="2245">0.0091386313791533592</cx:pt>
          <cx:pt idx="2246">0</cx:pt>
          <cx:pt idx="2247">0.010578572334962099</cx:pt>
          <cx:pt idx="2248">0.0087927668188069897</cx:pt>
          <cx:pt idx="2249">0.0061463644683570498</cx:pt>
          <cx:pt idx="2250">0</cx:pt>
          <cx:pt idx="2251">0.021608821027711701</cx:pt>
          <cx:pt idx="2252">0.026404240115416099</cx:pt>
          <cx:pt idx="2253">0.031643626995494903</cx:pt>
          <cx:pt idx="2254">0.042905555417411</cx:pt>
          <cx:pt idx="2255">0.044706980237012597</cx:pt>
          <cx:pt idx="2256">0.067299719754463</cx:pt>
          <cx:pt idx="2257">0.063017146733551604</cx:pt>
          <cx:pt idx="2258">0.051042897377615998</cx:pt>
          <cx:pt idx="2259">0.054945412129028398</cx:pt>
          <cx:pt idx="2260">0.057037977195448598</cx:pt>
          <cx:pt idx="2261">0.036592902470138799</cx:pt>
          <cx:pt idx="2262">0.037349776476102402</cx:pt>
          <cx:pt idx="2263">0.052189814124550003</cx:pt>
          <cx:pt idx="2264">0.051882965579074</cx:pt>
          <cx:pt idx="2265">0.040217568642985098</cx:pt>
          <cx:pt idx="2266">0.046035858449834897</cx:pt>
          <cx:pt idx="2267">0.033517066129458102</cx:pt>
          <cx:pt idx="2268">0.0044381332866277896</cx:pt>
          <cx:pt idx="2269">0.018785053921826899</cx:pt>
          <cx:pt idx="2270">0.0067348044484657399</cx:pt>
          <cx:pt idx="2271">0</cx:pt>
          <cx:pt idx="2272">0</cx:pt>
          <cx:pt idx="2273">0.0134727378711854</cx:pt>
          <cx:pt idx="2274">0.013394731150573</cx:pt>
          <cx:pt idx="2275">0.020764051746765301</cx:pt>
          <cx:pt idx="2276">0.0098617786760929801</cx:pt>
          <cx:pt idx="2277">0.00716276338665246</cx:pt>
          <cx:pt idx="2278">0.0082927325233593408</cx:pt>
          <cx:pt idx="2279">0.00249759602742952</cx:pt>
          <cx:pt idx="2280">0</cx:pt>
          <cx:pt idx="2281">0.0099458955520486895</cx:pt>
          <cx:pt idx="2282">0</cx:pt>
          <cx:pt idx="2283">0</cx:pt>
          <cx:pt idx="2284">0.0080974598472596908</cx:pt>
          <cx:pt idx="2285">0.025018880358372301</cx:pt>
          <cx:pt idx="2286">0.0147078686207747</cx:pt>
          <cx:pt idx="2287">0.0132440405677122</cx:pt>
          <cx:pt idx="2288">0.0057068930628281197</cx:pt>
          <cx:pt idx="2289">0.014952118508233201</cx:pt>
          <cx:pt idx="2290">0.0224394168335274</cx:pt>
          <cx:pt idx="2291">0.030067895134108</cx:pt>
          <cx:pt idx="2292">0.024217778149666601</cx:pt>
          <cx:pt idx="2293">0.031360383889882201</cx:pt>
          <cx:pt idx="2294">0.028892617102566201</cx:pt>
          <cx:pt idx="2295">0.0067864470446028302</cx:pt>
          <cx:pt idx="2296">0.0057841668580682001</cx:pt>
          <cx:pt idx="2297">0.011903777270211101</cx:pt>
          <cx:pt idx="2298">0.018202064809004499</cx:pt>
          <cx:pt idx="2299">0.0077679280155443699</cx:pt>
          <cx:pt idx="2300">0.012313582289885799</cx:pt>
          <cx:pt idx="2301">0.0389249533783457</cx:pt>
          <cx:pt idx="2302">0.033663942318064299</cx:pt>
          <cx:pt idx="2303">0.0300186965660738</cx:pt>
          <cx:pt idx="2304">0.0107324515392462</cx:pt>
          <cx:pt idx="2305">0</cx:pt>
          <cx:pt idx="2306">0.0084486627010480105</cx:pt>
          <cx:pt idx="2307">0.0056692328567891897</cx:pt>
          <cx:pt idx="2308">0.00531636255531429</cx:pt>
          <cx:pt idx="2309">0</cx:pt>
          <cx:pt idx="2310">0</cx:pt>
          <cx:pt idx="2311">0.00095852583632708398</cx:pt>
          <cx:pt idx="2312">0</cx:pt>
          <cx:pt idx="2313">0</cx:pt>
          <cx:pt idx="2314">0.0049464874674911997</cx:pt>
          <cx:pt idx="2315">0.0016334018120232299</cx:pt>
          <cx:pt idx="2316">0.0090899098373400499</cx:pt>
          <cx:pt idx="2317">0</cx:pt>
          <cx:pt idx="2318">0</cx:pt>
          <cx:pt idx="2319">0.010703576798898299</cx:pt>
          <cx:pt idx="2320">0.024551025004872499</cx:pt>
          <cx:pt idx="2321">0.036074386986528997</cx:pt>
          <cx:pt idx="2322">0.0311276757015021</cx:pt>
          <cx:pt idx="2323">0.030056061716759098</cx:pt>
          <cx:pt idx="2324">0.019801530332478799</cx:pt>
          <cx:pt idx="2325">0</cx:pt>
          <cx:pt idx="2326">0.0012921861778681101</cx:pt>
          <cx:pt idx="2327">0.0094221866944572998</cx:pt>
          <cx:pt idx="2328">0.014525583070004001</cx:pt>
          <cx:pt idx="2329">0</cx:pt>
          <cx:pt idx="2330">0</cx:pt>
          <cx:pt idx="2331">0.00130341827936657</cx:pt>
          <cx:pt idx="2332">0.020170437556500002</cx:pt>
          <cx:pt idx="2333">0.0219156543547269</cx:pt>
          <cx:pt idx="2334">0.0344888322938895</cx:pt>
          <cx:pt idx="2335">0.051467871489019601</cx:pt>
          <cx:pt idx="2336">0.035928935815294202</cx:pt>
          <cx:pt idx="2337">0.061348184154842202</cx:pt>
          <cx:pt idx="2338">0.056937513473544803</cx:pt>
          <cx:pt idx="2339">0.071985553402778402</cx:pt>
          <cx:pt idx="2340">0.065944926582942306</cx:pt>
          <cx:pt idx="2341">0.066760958517406099</cx:pt>
          <cx:pt idx="2342">0.069528044300174396</cx:pt>
          <cx:pt idx="2343">0.070755730912937798</cx:pt>
          <cx:pt idx="2344">0.094038965859846405</cx:pt>
          <cx:pt idx="2345">0.087061548932632696</cx:pt>
          <cx:pt idx="2346">0.099365459365521505</cx:pt>
          <cx:pt idx="2347">0.068456989416321196</cx:pt>
          <cx:pt idx="2348">0</cx:pt>
          <cx:pt idx="2349">0.029552805000926798</cx:pt>
          <cx:pt idx="2350">0.0580359099242026</cx:pt>
          <cx:pt idx="2351">0.092034507666423807</cx:pt>
          <cx:pt idx="2352">0.093633875158107102</cx:pt>
          <cx:pt idx="2353">0.105341049476947</cx:pt>
          <cx:pt idx="2354">0.099283973401880998</cx:pt>
          <cx:pt idx="2355">0.123832793517219</cx:pt>
          <cx:pt idx="2356">0.115055655451362</cx:pt>
          <cx:pt idx="2357">0.117032862836931</cx:pt>
          <cx:pt idx="2358">0.14869477717035101</cx:pt>
          <cx:pt idx="2359">0.158408627967497</cx:pt>
          <cx:pt idx="2360">0.146012699040663</cx:pt>
          <cx:pt idx="2361">0.16448486224271799</cx:pt>
          <cx:pt idx="2362">0.179457342634227</cx:pt>
          <cx:pt idx="2363">0.192988021581189</cx:pt>
          <cx:pt idx="2364">0.20122290285141201</cx:pt>
          <cx:pt idx="2365">0.16217214903169599</cx:pt>
          <cx:pt idx="2366">0.16827936347465899</cx:pt>
          <cx:pt idx="2367">0.11803352680206</cx:pt>
          <cx:pt idx="2368">0.144404235766421</cx:pt>
          <cx:pt idx="2369">0.15933690279023599</cx:pt>
          <cx:pt idx="2370">0.15782421182065701</cx:pt>
          <cx:pt idx="2371">0.17312550939919399</cx:pt>
          <cx:pt idx="2372">0.16684658526985799</cx:pt>
          <cx:pt idx="2373">0.12709171896959401</cx:pt>
          <cx:pt idx="2374">0.14973755004921999</cx:pt>
          <cx:pt idx="2375">0.130581045066925</cx:pt>
          <cx:pt idx="2376">0.106980092872394</cx:pt>
          <cx:pt idx="2377">0.100231362467866</cx:pt>
          <cx:pt idx="2378">0.043811944378763901</cx:pt>
          <cx:pt idx="2379">0.047269964116946402</cx:pt>
          <cx:pt idx="2380">0.0317903380947714</cx:pt>
          <cx:pt idx="2381">0.035827408221386602</cx:pt>
          <cx:pt idx="2382">0.045948860560245303</cx:pt>
          <cx:pt idx="2383">0</cx:pt>
          <cx:pt idx="2384">0.0087514575817212795</cx:pt>
          <cx:pt idx="2385">0.039925647672431001</cx:pt>
          <cx:pt idx="2386">0.034655557511685003</cx:pt>
          <cx:pt idx="2387">0.0227937040182658</cx:pt>
          <cx:pt idx="2388">0</cx:pt>
          <cx:pt idx="2389">0.0038020908401194</cx:pt>
          <cx:pt idx="2390">0</cx:pt>
          <cx:pt idx="2391">0.0053605450239562003</cx:pt>
          <cx:pt idx="2392">0</cx:pt>
          <cx:pt idx="2393">0.023708412779527101</cx:pt>
          <cx:pt idx="2394">0.0212117293062099</cx:pt>
          <cx:pt idx="2395">0.037080447346577797</cx:pt>
          <cx:pt idx="2396">0.0137461454133085</cx:pt>
          <cx:pt idx="2397">0</cx:pt>
          <cx:pt idx="2398">0.0039847871439177996</cx:pt>
          <cx:pt idx="2399">0</cx:pt>
          <cx:pt idx="2400">0.0023104598160085602</cx:pt>
          <cx:pt idx="2401">0.0084234244220617593</cx:pt>
          <cx:pt idx="2402">0.019422766642671101</cx:pt>
          <cx:pt idx="2403">0.00997780420914165</cx:pt>
          <cx:pt idx="2404">0.019294865504371601</cx:pt>
          <cx:pt idx="2405">0.012700808130220001</cx:pt>
          <cx:pt idx="2406">0</cx:pt>
          <cx:pt idx="2407">0</cx:pt>
          <cx:pt idx="2408">0.000121779215513471</cx:pt>
          <cx:pt idx="2409">0</cx:pt>
          <cx:pt idx="2410">0.011035153074121101</cx:pt>
          <cx:pt idx="2411">0.030171971170465901</cx:pt>
          <cx:pt idx="2412">0.0285955025194582</cx:pt>
          <cx:pt idx="2413">0.037006445332635501</cx:pt>
          <cx:pt idx="2414">0.0267399794685729</cx:pt>
          <cx:pt idx="2415">0.036510792552315</cx:pt>
          <cx:pt idx="2416">0.043951109200815297</cx:pt>
          <cx:pt idx="2417">0.033552187845445197</cx:pt>
          <cx:pt idx="2418">0.036583678649267197</cx:pt>
          <cx:pt idx="2419">0.032277625043608101</cx:pt>
          <cx:pt idx="2420">0.045484892711496999</cx:pt>
          <cx:pt idx="2421">0.033767504680567502</cx:pt>
          <cx:pt idx="2422">0.0251668582502588</cx:pt>
          <cx:pt idx="2423">0</cx:pt>
          <cx:pt idx="2424">0</cx:pt>
          <cx:pt idx="2425">0.027453872701562299</cx:pt>
          <cx:pt idx="2426">0.0079699305832298204</cx:pt>
          <cx:pt idx="2427">0</cx:pt>
          <cx:pt idx="2428">0</cx:pt>
          <cx:pt idx="2429">0.0069993690643011704</cx:pt>
          <cx:pt idx="2430">0.00101096091769964</cx:pt>
          <cx:pt idx="2431">0</cx:pt>
          <cx:pt idx="2432">0</cx:pt>
          <cx:pt idx="2433">0.0059135188546066602</cx:pt>
          <cx:pt idx="2434">0</cx:pt>
          <cx:pt idx="2435">0</cx:pt>
          <cx:pt idx="2436">0.0028840299870815599</cx:pt>
          <cx:pt idx="2437">0</cx:pt>
          <cx:pt idx="2438">0</cx:pt>
          <cx:pt idx="2439">0</cx:pt>
          <cx:pt idx="2440">0</cx:pt>
          <cx:pt idx="2441">0</cx:pt>
          <cx:pt idx="2442">0</cx:pt>
          <cx:pt idx="2443">0</cx:pt>
          <cx:pt idx="2444">0</cx:pt>
          <cx:pt idx="2445">0.0039927838544599704</cx:pt>
          <cx:pt idx="2446">0.0041709175011144404</cx:pt>
          <cx:pt idx="2447">0</cx:pt>
          <cx:pt idx="2448">0.0076151772332396896</cx:pt>
          <cx:pt idx="2449">0</cx:pt>
          <cx:pt idx="2450">0</cx:pt>
          <cx:pt idx="2451">0</cx:pt>
          <cx:pt idx="2452">0.0183655421039919</cx:pt>
          <cx:pt idx="2453">0.041767965387077201</cx:pt>
          <cx:pt idx="2454">0.063702771231070807</cx:pt>
          <cx:pt idx="2455">0.099585321346040201</cx:pt>
          <cx:pt idx="2456">0.106327048393448</cx:pt>
          <cx:pt idx="2457">0.14064898345744301</cx:pt>
          <cx:pt idx="2458">0.131403782294848</cx:pt>
          <cx:pt idx="2459">0.11732029102678</cx:pt>
          <cx:pt idx="2460">0.061682818516273101</cx:pt>
          <cx:pt idx="2461">0.067371784220146405</cx:pt>
          <cx:pt idx="2462">0.079438309545476704</cx:pt>
          <cx:pt idx="2463">0.092628944629436702</cx:pt>
          <cx:pt idx="2464">0.10328404046474</cx:pt>
          <cx:pt idx="2465">0.11309958107614999</cx:pt>
          <cx:pt idx="2466">0.055106420757468501</cx:pt>
          <cx:pt idx="2467">0.056513585062539298</cx:pt>
          <cx:pt idx="2468">0.068812388635335495</cx:pt>
          <cx:pt idx="2469">0.102757105961266</cx:pt>
          <cx:pt idx="2470">0.094984257373142006</cx:pt>
          <cx:pt idx="2471">0.111743658277431</cx:pt>
          <cx:pt idx="2472">0.13449507039693201</cx:pt>
          <cx:pt idx="2473">0.123484743092341</cx:pt>
          <cx:pt idx="2474">0.13188043736866201</cx:pt>
          <cx:pt idx="2475">0.117732090802298</cx:pt>
          <cx:pt idx="2476">0.097064084688274599</cx:pt>
          <cx:pt idx="2477">0.092212389179938306</cx:pt>
          <cx:pt idx="2478">0.076493758843491896</cx:pt>
          <cx:pt idx="2479">0.057852579292098499</cx:pt>
          <cx:pt idx="2480">0.053232190992246201</cx:pt>
          <cx:pt idx="2481">0.069576924062705298</cx:pt>
          <cx:pt idx="2482">0.079128245577312906</cx:pt>
          <cx:pt idx="2483">0.080719773558579094</cx:pt>
          <cx:pt idx="2484">0.049679287107025599</cx:pt>
          <cx:pt idx="2485">0.040508274515783503</cx:pt>
          <cx:pt idx="2486">0.056760920996850199</cx:pt>
          <cx:pt idx="2487">0.075093309903158795</cx:pt>
          <cx:pt idx="2488">0.080904745410153106</cx:pt>
          <cx:pt idx="2489">0.060931779812294799</cx:pt>
          <cx:pt idx="2490">0.076655199066031798</cx:pt>
          <cx:pt idx="2491">0.099645820475287403</cx:pt>
          <cx:pt idx="2492">0.089902355059356495</cx:pt>
          <cx:pt idx="2493">0.097218446541050899</cx:pt>
          <cx:pt idx="2494">0.10419707730969401</cx:pt>
          <cx:pt idx="2495">0.096077806651792497</cx:pt>
          <cx:pt idx="2496">0.091181882606496706</cx:pt>
          <cx:pt idx="2497">0.059885621756400602</cx:pt>
          <cx:pt idx="2498">0.063229293877038406</cx:pt>
          <cx:pt idx="2499">0.015995945463487999</cx:pt>
          <cx:pt idx="2500">0</cx:pt>
          <cx:pt idx="2501">0.0060600766035691497</cx:pt>
          <cx:pt idx="2502">0.0199623633853548</cx:pt>
          <cx:pt idx="2503">0.028479197322362901</cx:pt>
          <cx:pt idx="2504">0.0131335545848683</cx:pt>
          <cx:pt idx="2505">0.014106597720560001</cx:pt>
          <cx:pt idx="2506">0.0288264414472609</cx:pt>
          <cx:pt idx="2507">0.0186723640651319</cx:pt>
          <cx:pt idx="2508">0.0134210558135153</cx:pt>
          <cx:pt idx="2509">0.0302469578842075</cx:pt>
          <cx:pt idx="2510">0.0057662690316946401</cx:pt>
          <cx:pt idx="2511">0.0075499539230840197</cx:pt>
          <cx:pt idx="2512">0</cx:pt>
          <cx:pt idx="2513">0</cx:pt>
          <cx:pt idx="2514">0</cx:pt>
          <cx:pt idx="2515">0.0269710322857157</cx:pt>
          <cx:pt idx="2516">0.063565263477771194</cx:pt>
          <cx:pt idx="2517">0.066029699395622601</cx:pt>
          <cx:pt idx="2518">0.059112441529216797</cx:pt>
          <cx:pt idx="2519">0.050081104096812303</cx:pt>
          <cx:pt idx="2520">0.045385999013542497</cx:pt>
          <cx:pt idx="2521">0.033025030217472898</cx:pt>
          <cx:pt idx="2522">0.050989296802906502</cx:pt>
          <cx:pt idx="2523">0.036914976071202601</cx:pt>
          <cx:pt idx="2524">0.027207812730846399</cx:pt>
          <cx:pt idx="2525">0</cx:pt>
          <cx:pt idx="2526">0.0031922541508758099</cx:pt>
          <cx:pt idx="2527">0.015609652418282299</cx:pt>
          <cx:pt idx="2528">0.022878009078138101</cx:pt>
          <cx:pt idx="2529">0.033533068666516397</cx:pt>
          <cx:pt idx="2530">0.017500289736155899</cx:pt>
          <cx:pt idx="2531">0.036553701800015499</cx:pt>
          <cx:pt idx="2532">0.049166208659017399</cx:pt>
          <cx:pt idx="2533">0.051323268159544397</cx:pt>
          <cx:pt idx="2534">0.064024250702505503</cx:pt>
          <cx:pt idx="2535">0.045255054615292702</cx:pt>
          <cx:pt idx="2536">0.0727120682183902</cx:pt>
          <cx:pt idx="2537">0.059076287414301702</cx:pt>
          <cx:pt idx="2538">0.026901936823696199</cx:pt>
          <cx:pt idx="2539">0.033743110282362203</cx:pt>
          <cx:pt idx="2540">0.035993319672497498</cx:pt>
          <cx:pt idx="2541">0.037981923594331501</cx:pt>
          <cx:pt idx="2542">0.0183236314497905</cx:pt>
          <cx:pt idx="2543">0.0043065286837476501</cx:pt>
          <cx:pt idx="2544">0.0135246209966046</cx:pt>
          <cx:pt idx="2545">0.0216364074361876</cx:pt>
          <cx:pt idx="2546">0.0286527367520714</cx:pt>
          <cx:pt idx="2547">0.024454965445431898</cx:pt>
          <cx:pt idx="2548">0.0023493890017213799</cx:pt>
          <cx:pt idx="2549">0</cx:pt>
          <cx:pt idx="2550">0</cx:pt>
          <cx:pt idx="2551">0</cx:pt>
          <cx:pt idx="2552">0.0057334171693300302</cx:pt>
          <cx:pt idx="2553">0</cx:pt>
          <cx:pt idx="2554">0.0091195349619284903</cx:pt>
          <cx:pt idx="2555">0.015766775999434299</cx:pt>
          <cx:pt idx="2556">0.0141948447281604</cx:pt>
          <cx:pt idx="2557">0.021301821342720201</cx:pt>
          <cx:pt idx="2558">0.0037232947897003102</cx:pt>
          <cx:pt idx="2559">0.0113164938364828</cx:pt>
          <cx:pt idx="2560">0</cx:pt>
          <cx:pt idx="2561">0</cx:pt>
          <cx:pt idx="2562">0.010878028874736699</cx:pt>
          <cx:pt idx="2563">0.0115176919669965</cx:pt>
          <cx:pt idx="2564">0.020380272896978999</cx:pt>
          <cx:pt idx="2565">0.0186593075444716</cx:pt>
          <cx:pt idx="2566">0.053287756710228999</cx:pt>
          <cx:pt idx="2567">0.0294854167830681</cx:pt>
          <cx:pt idx="2568">0.040143471068147599</cx:pt>
          <cx:pt idx="2569">0.032583318526413503</cx:pt>
          <cx:pt idx="2570">0.039410333833356702</cx:pt>
          <cx:pt idx="2571">0.040089346805120801</cx:pt>
          <cx:pt idx="2572">0.0299160248068484</cx:pt>
          <cx:pt idx="2573">0.059193787358377499</cx:pt>
          <cx:pt idx="2574">0.080037790395927705</cx:pt>
          <cx:pt idx="2575">0.113468151720179</cx:pt>
          <cx:pt idx="2576">0.119153015015928</cx:pt>
          <cx:pt idx="2577">0.12399238507070399</cx:pt>
          <cx:pt idx="2578">0.137096690549386</cx:pt>
          <cx:pt idx="2579">0.13391478940911</cx:pt>
          <cx:pt idx="2580">0.117695920876878</cx:pt>
          <cx:pt idx="2581">0.14196737993835601</cx:pt>
          <cx:pt idx="2582">0.128247921707387</cx:pt>
          <cx:pt idx="2583">0.116643900088094</cx:pt>
          <cx:pt idx="2584">0.11686325648481601</cx:pt>
          <cx:pt idx="2585">0.133480454276584</cx:pt>
          <cx:pt idx="2586">0.11530094734358</cx:pt>
          <cx:pt idx="2587">0.148548643153739</cx:pt>
          <cx:pt idx="2588">0.168978210999046</cx:pt>
          <cx:pt idx="2589">0.187417942452376</cx:pt>
          <cx:pt idx="2590">0.186691974741241</cx:pt>
          <cx:pt idx="2591">0.16250885838017701</cx:pt>
          <cx:pt idx="2592">0.16829675920415799</cx:pt>
          <cx:pt idx="2593">0.13695079300389701</cx:pt>
          <cx:pt idx="2594">0.127848664862455</cx:pt>
          <cx:pt idx="2595">0.13644003612286101</cx:pt>
          <cx:pt idx="2596">0.154815954272087</cx:pt>
          <cx:pt idx="2597">0.153523074967409</cx:pt>
          <cx:pt idx="2598">0.147382700838259</cx:pt>
          <cx:pt idx="2599">0.14555591925695299</cx:pt>
          <cx:pt idx="2600">0.16754316569466399</cx:pt>
          <cx:pt idx="2601">0.181570043112045</cx:pt>
          <cx:pt idx="2602">0.20064572425982299</cx:pt>
          <cx:pt idx="2603">0.17809477540733101</cx:pt>
          <cx:pt idx="2604">0.16943695648686899</cx:pt>
          <cx:pt idx="2605">0.13057387354519301</cx:pt>
          <cx:pt idx="2606">0.12322289850130901</cx:pt>
          <cx:pt idx="2607">0.092640493913809296</cx:pt>
          <cx:pt idx="2608">0.083412001286185394</cx:pt>
          <cx:pt idx="2609">0.063576470463891199</cx:pt>
          <cx:pt idx="2610">0.088791060678571204</cx:pt>
          <cx:pt idx="2611">0.080234750748384306</cx:pt>
          <cx:pt idx="2612">0.089702467437903097</cx:pt>
          <cx:pt idx="2613">0.043139891352813299</cx:pt>
          <cx:pt idx="2614">0.049836211837587997</cx:pt>
          <cx:pt idx="2615">0</cx:pt>
        </cx:lvl>
      </cx:numDim>
    </cx:data>
  </cx:chartData>
  <cx:chart>
    <cx:plotArea>
      <cx:plotAreaRegion>
        <cx:series layoutId="clusteredColumn" uniqueId="{9AED32BE-CDE7-49D9-BA15-78089B5DC4D2}">
          <cx:tx>
            <cx:txData>
              <cx:f>'1.'!$M$1</cx:f>
              <cx:v>最大亏损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600"/>
            </a:pPr>
            <a:endParaRPr lang="zh-CN" altLang="en-US" sz="600" b="0" i="0" u="none" strike="noStrike" kern="1200" baseline="0">
              <a:solidFill>
                <a:prstClr val="black"/>
              </a:solidFill>
              <a:latin typeface="Arial"/>
              <a:ea typeface="楷体_GB2312"/>
            </a:endParaRPr>
          </a:p>
        </cx:txPr>
      </cx:axis>
      <cx:axis id="1">
        <cx:valScaling/>
        <cx:tickLabels/>
      </cx:axis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7:$A$41</cx:f>
        <cx:lvl ptCount="15">
          <cx:pt idx="0">#REF!</cx:pt>
          <cx:pt idx="1">#REF!</cx:pt>
          <cx:pt idx="2">#REF!</cx:pt>
          <cx:pt idx="3">#REF!</cx:pt>
          <cx:pt idx="4">#REF!</cx:pt>
          <cx:pt idx="5">#REF!</cx:pt>
          <cx:pt idx="6">#REF!</cx:pt>
          <cx:pt idx="7">#REF!</cx:pt>
          <cx:pt idx="8">#REF!</cx:pt>
          <cx:pt idx="9">#REF!</cx:pt>
          <cx:pt idx="10">#REF!</cx:pt>
          <cx:pt idx="11">#REF!</cx:pt>
          <cx:pt idx="12">#REF!</cx:pt>
          <cx:pt idx="13">#REF!</cx:pt>
          <cx:pt idx="14">#REF!</cx:pt>
        </cx:lvl>
      </cx:strDim>
      <cx:numDim type="val">
        <cx:f>'2.'!$N$2:$N$192</cx:f>
        <cx:lvl ptCount="191" formatCode="0.00%">
          <cx:pt idx="0">0.38704539076807198</cx:pt>
          <cx:pt idx="1">0.49317102763868398</cx:pt>
          <cx:pt idx="2">0.49317102763868398</cx:pt>
          <cx:pt idx="3">0.49317102763868398</cx:pt>
          <cx:pt idx="4">0.49317102763868398</cx:pt>
          <cx:pt idx="5">0.49317102763868398</cx:pt>
          <cx:pt idx="6">0.49317102763868398</cx:pt>
          <cx:pt idx="7">0.49317102763868398</cx:pt>
          <cx:pt idx="8">0.459114951412949</cx:pt>
          <cx:pt idx="9">0.459114951412949</cx:pt>
          <cx:pt idx="10">0.44527157601704997</cx:pt>
          <cx:pt idx="11">0.37797890998421302</cx:pt>
          <cx:pt idx="12">0.35539982670520498</cx:pt>
          <cx:pt idx="13">0.35539982670520498</cx:pt>
          <cx:pt idx="14">0.35539982670520498</cx:pt>
          <cx:pt idx="15">0.35539982670520498</cx:pt>
          <cx:pt idx="16">0.28403619979353001</cx:pt>
          <cx:pt idx="17">0.2131012385347</cx:pt>
          <cx:pt idx="18">0.2131012385347</cx:pt>
          <cx:pt idx="19">0.2131012385347</cx:pt>
          <cx:pt idx="20">0.2131012385347</cx:pt>
          <cx:pt idx="21">0.2131012385347</cx:pt>
          <cx:pt idx="22">0.2131012385347</cx:pt>
          <cx:pt idx="23">0.2131012385347</cx:pt>
          <cx:pt idx="24">0.2131012385347</cx:pt>
          <cx:pt idx="25">0.2131012385347</cx:pt>
          <cx:pt idx="26">0.2131012385347</cx:pt>
          <cx:pt idx="27">0.2131012385347</cx:pt>
          <cx:pt idx="28">0.2131012385347</cx:pt>
          <cx:pt idx="29">0.2131012385347</cx:pt>
          <cx:pt idx="30">0.2131012385347</cx:pt>
          <cx:pt idx="31">0.2131012385347</cx:pt>
          <cx:pt idx="32">0.2131012385347</cx:pt>
          <cx:pt idx="33">0.2131012385347</cx:pt>
          <cx:pt idx="34">0.2131012385347</cx:pt>
          <cx:pt idx="35">0.2131012385347</cx:pt>
          <cx:pt idx="36">0.2131012385347</cx:pt>
          <cx:pt idx="37">0.2131012385347</cx:pt>
          <cx:pt idx="38">0.2131012385347</cx:pt>
          <cx:pt idx="39">0.2131012385347</cx:pt>
          <cx:pt idx="40">0.2131012385347</cx:pt>
          <cx:pt idx="41">0.40937675701506498</cx:pt>
          <cx:pt idx="42">0.40937675701506498</cx:pt>
          <cx:pt idx="43">0.40937675701506498</cx:pt>
          <cx:pt idx="44">0.40937675701506498</cx:pt>
          <cx:pt idx="45">0.40937675701506498</cx:pt>
          <cx:pt idx="46">0.40937675701506498</cx:pt>
          <cx:pt idx="47">0.40937675701506498</cx:pt>
          <cx:pt idx="48">0.40937675701506498</cx:pt>
          <cx:pt idx="49">0.54860781000494396</cx:pt>
          <cx:pt idx="50">0.54860781000494396</cx:pt>
          <cx:pt idx="51">0.54860781000494396</cx:pt>
          <cx:pt idx="52">0.54860781000494396</cx:pt>
          <cx:pt idx="53">0.54860781000494396</cx:pt>
          <cx:pt idx="54">0.54860781000494396</cx:pt>
          <cx:pt idx="55">0.54860781000494396</cx:pt>
          <cx:pt idx="56">0.54860781000494396</cx:pt>
          <cx:pt idx="57">0.54860781000494396</cx:pt>
          <cx:pt idx="58">0.54860781000494396</cx:pt>
          <cx:pt idx="59">0.54860781000494396</cx:pt>
          <cx:pt idx="60">0.54860781000494396</cx:pt>
          <cx:pt idx="61">0.54860781000494396</cx:pt>
          <cx:pt idx="62">0.54860781000494396</cx:pt>
          <cx:pt idx="63">0.54860781000494396</cx:pt>
          <cx:pt idx="64">0.54860781000494396</cx:pt>
          <cx:pt idx="65">0.54860781000494396</cx:pt>
          <cx:pt idx="66">0.54860781000494396</cx:pt>
          <cx:pt idx="67">0.54860781000494396</cx:pt>
          <cx:pt idx="68">0.54860781000494396</cx:pt>
          <cx:pt idx="69">0.54860781000494396</cx:pt>
          <cx:pt idx="70">0.54860781000494396</cx:pt>
          <cx:pt idx="71">0.54860781000494396</cx:pt>
          <cx:pt idx="72">0.54860781000494396</cx:pt>
          <cx:pt idx="73">0.54860781000494396</cx:pt>
          <cx:pt idx="74">0.54860781000494396</cx:pt>
          <cx:pt idx="75">0.54860781000494396</cx:pt>
          <cx:pt idx="76">0.54860781000494396</cx:pt>
          <cx:pt idx="77">0.54860781000494396</cx:pt>
          <cx:pt idx="78">0.54860781000494396</cx:pt>
          <cx:pt idx="79">0.54860781000494396</cx:pt>
          <cx:pt idx="80">0.54860781000494396</cx:pt>
          <cx:pt idx="81">0.54860781000494396</cx:pt>
          <cx:pt idx="82">0.51954411193585603</cx:pt>
          <cx:pt idx="83">0.43938134613447299</cx:pt>
          <cx:pt idx="84">0.39434431554149102</cx:pt>
          <cx:pt idx="85">0.39434431554149102</cx:pt>
          <cx:pt idx="86">0.39434431554149102</cx:pt>
          <cx:pt idx="87">0.39434431554149102</cx:pt>
          <cx:pt idx="88">0.39434431554149102</cx:pt>
          <cx:pt idx="89">0.39434431554149102</cx:pt>
          <cx:pt idx="90">0.37968731020241397</cx:pt>
          <cx:pt idx="91">0.368143536875222</cx:pt>
          <cx:pt idx="92">0.368143536875222</cx:pt>
          <cx:pt idx="93">0.368143536875222</cx:pt>
          <cx:pt idx="94">0.368143536875222</cx:pt>
          <cx:pt idx="95">0.368143536875222</cx:pt>
          <cx:pt idx="96">0.37536904211771999</cx:pt>
          <cx:pt idx="97">0.37536904211771999</cx:pt>
          <cx:pt idx="98">0.37536904211771999</cx:pt>
          <cx:pt idx="99">0.38268655552292202</cx:pt>
          <cx:pt idx="100">0.38868772408871</cx:pt>
          <cx:pt idx="101">0.38868772408871</cx:pt>
          <cx:pt idx="102">0.38087097496630101</cx:pt>
          <cx:pt idx="103">0.38087097496630101</cx:pt>
          <cx:pt idx="104">0.363132855424811</cx:pt>
          <cx:pt idx="105">0.28736982628590502</cx:pt>
          <cx:pt idx="106">0.28736982628590502</cx:pt>
          <cx:pt idx="107">0.28736982628590502</cx:pt>
          <cx:pt idx="108">0.28736982628590502</cx:pt>
          <cx:pt idx="109">0.27763792699684497</cx:pt>
          <cx:pt idx="110">0.27763792699684497</cx:pt>
          <cx:pt idx="111">0.27335074905134699</cx:pt>
          <cx:pt idx="112">0.2550226493028</cx:pt>
          <cx:pt idx="113">0.2550226493028</cx:pt>
          <cx:pt idx="114">0.23064250828335001</cx:pt>
          <cx:pt idx="115">0.23064250828335001</cx:pt>
          <cx:pt idx="116">0.23064250828335001</cx:pt>
          <cx:pt idx="117">0.23064250828335001</cx:pt>
          <cx:pt idx="118">0.23064250828335001</cx:pt>
          <cx:pt idx="119">0.25090164684121302</cx:pt>
          <cx:pt idx="120">0.27153563629169403</cx:pt>
          <cx:pt idx="121">0.37435885135070501</cx:pt>
          <cx:pt idx="122">0.37435885135070501</cx:pt>
          <cx:pt idx="123">0.37435885135070501</cx:pt>
          <cx:pt idx="124">0.36593369986146101</cx:pt>
          <cx:pt idx="125">0.36593369986146101</cx:pt>
          <cx:pt idx="126">0.36593369986146101</cx:pt>
          <cx:pt idx="127">0.36593369986146101</cx:pt>
          <cx:pt idx="128">0.36593369986146101</cx:pt>
          <cx:pt idx="129">0.36593369986146101</cx:pt>
          <cx:pt idx="130">0.36593369986146101</cx:pt>
          <cx:pt idx="131">0.36593369986146101</cx:pt>
          <cx:pt idx="132">0.36593369986146101</cx:pt>
          <cx:pt idx="133">0.36593369986146101</cx:pt>
          <cx:pt idx="134">0.36593369986146101</cx:pt>
          <cx:pt idx="135">0.36593369986146101</cx:pt>
          <cx:pt idx="136">0.35765896300393202</cx:pt>
          <cx:pt idx="137">0.35765896300393202</cx:pt>
          <cx:pt idx="138">0.30987776850638998</cx:pt>
          <cx:pt idx="139">0.30987776850638998</cx:pt>
          <cx:pt idx="140">0.29644229774440001</cx:pt>
          <cx:pt idx="141">0.29644229774440001</cx:pt>
          <cx:pt idx="142">0.29644229774440001</cx:pt>
          <cx:pt idx="143">0.20122290285141201</cx:pt>
          <cx:pt idx="144">0.20122290285141201</cx:pt>
          <cx:pt idx="145">0.20122290285141201</cx:pt>
          <cx:pt idx="146">0.20122290285141201</cx:pt>
          <cx:pt idx="147">0.20122290285141201</cx:pt>
          <cx:pt idx="148">0.20122290285141201</cx:pt>
          <cx:pt idx="149">0.20122290285141201</cx:pt>
          <cx:pt idx="150">0.20122290285141201</cx:pt>
          <cx:pt idx="151">0.20122290285141201</cx:pt>
          <cx:pt idx="152">0.20122290285141201</cx:pt>
          <cx:pt idx="153">0.20122290285141201</cx:pt>
          <cx:pt idx="154">0.20122290285141201</cx:pt>
          <cx:pt idx="155">0.20122290285141201</cx:pt>
          <cx:pt idx="156">0.20122290285141201</cx:pt>
          <cx:pt idx="157">0.20122290285141201</cx:pt>
          <cx:pt idx="158">0.164606959244745</cx:pt>
          <cx:pt idx="159">0.20064572425982299</cx:pt>
          <cx:pt idx="160">0.20064572425982299</cx:pt>
          <cx:pt idx="161">0.20064572425982299</cx:pt>
          <cx:pt idx="162">0.20064572425982299</cx:pt>
          <cx:pt idx="163">0.20064572425982299</cx:pt>
          <cx:pt idx="164">0.20064572425982299</cx:pt>
          <cx:pt idx="165">0.20064572425982299</cx:pt>
          <cx:pt idx="166">0.20064572425982299</cx:pt>
          <cx:pt idx="167">0.20064572425982299</cx:pt>
          <cx:pt idx="168">0.20064572425982299</cx:pt>
          <cx:pt idx="169">0.20064572425982299</cx:pt>
          <cx:pt idx="170">0.20064572425982299</cx:pt>
          <cx:pt idx="171">0.20064572425982299</cx:pt>
          <cx:pt idx="172">0.20064572425982299</cx:pt>
          <cx:pt idx="173">0.20064572425982299</cx:pt>
          <cx:pt idx="174">0.20064572425982299</cx:pt>
          <cx:pt idx="175">0.20064572425982299</cx:pt>
          <cx:pt idx="176">0.20064572425982299</cx:pt>
          <cx:pt idx="177">0.20064572425982299</cx:pt>
          <cx:pt idx="178">0.20064572425982299</cx:pt>
          <cx:pt idx="179">0.20064572425982299</cx:pt>
          <cx:pt idx="180">0.20064572425982299</cx:pt>
          <cx:pt idx="181">0.20064572425982299</cx:pt>
          <cx:pt idx="182">0.20064572425982299</cx:pt>
          <cx:pt idx="183">0.20064572425982299</cx:pt>
          <cx:pt idx="184">0.20064572425982299</cx:pt>
          <cx:pt idx="185">0.20064572425982299</cx:pt>
          <cx:pt idx="186">0.089702467437903097</cx:pt>
          <cx:pt idx="187">0.089702467437903097</cx:pt>
          <cx:pt idx="188">0.089702467437903097</cx:pt>
          <cx:pt idx="189">0.089702467437903097</cx:pt>
          <cx:pt idx="190">0.089702467437903097</cx:pt>
        </cx:lvl>
      </cx:numDim>
    </cx:data>
  </cx:chartData>
  <cx:chart>
    <cx:plotArea>
      <cx:plotAreaRegion>
        <cx:series layoutId="clusteredColumn" uniqueId="{9AED32BE-CDE7-49D9-BA15-78089B5DC4D2}">
          <cx:tx>
            <cx:txData>
              <cx:f>'2.'!$N$1</cx:f>
              <cx:v>360个交易日内最大回撤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700"/>
            </a:pPr>
            <a:endParaRPr lang="zh-CN" altLang="en-US" sz="700" b="0" i="0" u="none" strike="noStrike" kern="1200" baseline="0">
              <a:solidFill>
                <a:prstClr val="black"/>
              </a:solidFill>
              <a:latin typeface="Arial"/>
              <a:ea typeface="楷体_GB2312"/>
            </a:endParaRPr>
          </a:p>
        </cx:txPr>
      </cx:axis>
      <cx:axis id="1">
        <cx:val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2.'!$O$2:$O$192</cx:f>
        <cx:lvl ptCount="191" formatCode="0.00%">
          <cx:pt idx="0">0.25634690337238702</cx:pt>
          <cx:pt idx="1">0.41296563152288002</cx:pt>
          <cx:pt idx="2">0.43575799328772402</cx:pt>
          <cx:pt idx="3">0.417179699296505</cx:pt>
          <cx:pt idx="4">0.44831035329056901</cx:pt>
          <cx:pt idx="5">0.42257632318154897</cx:pt>
          <cx:pt idx="6">0.44510311452482898</cx:pt>
          <cx:pt idx="7">0.43336461606118698</cx:pt>
          <cx:pt idx="8">0.45398872173224603</cx:pt>
          <cx:pt idx="9">0.42746611720017602</cx:pt>
          <cx:pt idx="10">0.44527157601704997</cx:pt>
          <cx:pt idx="11">0.37797890998421302</cx:pt>
          <cx:pt idx="12">0.27382372188889498</cx:pt>
          <cx:pt idx="13">0.244852452009855</cx:pt>
          <cx:pt idx="14">0.28671411012280501</cx:pt>
          <cx:pt idx="15">0.26791972594158198</cx:pt>
          <cx:pt idx="16">0.28403619979353001</cx:pt>
          <cx:pt idx="17">0</cx:pt>
          <cx:pt idx="18">0.019761113128670599</cx:pt>
          <cx:pt idx="19">0.00562018114771402</cx:pt>
          <cx:pt idx="20">0.025295257416786801</cx:pt>
          <cx:pt idx="21">0.0142313465470577</cx:pt>
          <cx:pt idx="22">0.036143827434777301</cx:pt>
          <cx:pt idx="23">0.020084735038969601</cx:pt>
          <cx:pt idx="24">0.0297555310902319</cx:pt>
          <cx:pt idx="25">0</cx:pt>
          <cx:pt idx="26">0</cx:pt>
          <cx:pt idx="27">0.065823546423692106</cx:pt>
          <cx:pt idx="28">0.00170103570058604</cx:pt>
          <cx:pt idx="29">0.034483876167464997</cx:pt>
          <cx:pt idx="30">0.025636214660478999</cx:pt>
          <cx:pt idx="31">0.0411381469284871</cx:pt>
          <cx:pt idx="32">0</cx:pt>
          <cx:pt idx="33">0.027104418662058701</cx:pt>
          <cx:pt idx="34">0.0166795369322086</cx:pt>
          <cx:pt idx="35">0.031988526231106797</cx:pt>
          <cx:pt idx="36">0.0082618309022505897</cx:pt>
          <cx:pt idx="37">0.030816254624937599</cx:pt>
          <cx:pt idx="38">0</cx:pt>
          <cx:pt idx="39">0.012274958424437101</cx:pt>
          <cx:pt idx="40">0.0044223614988299501</cx:pt>
          <cx:pt idx="41">0.19978899801459701</cx:pt>
          <cx:pt idx="42">0.21046661709845699</cx:pt>
          <cx:pt idx="43">0.19688819245771999</cx:pt>
          <cx:pt idx="44">0.20357137754989399</cx:pt>
          <cx:pt idx="45">0.19086558507016799</cx:pt>
          <cx:pt idx="46">0.20585896677160401</cx:pt>
          <cx:pt idx="47">0.19293199488044999</cx:pt>
          <cx:pt idx="48">0.20360240671261401</cx:pt>
          <cx:pt idx="49">0.094887941487073302</cx:pt>
          <cx:pt idx="50">0.0751810995882599</cx:pt>
          <cx:pt idx="51">0.100728012077565</cx:pt>
          <cx:pt idx="52">0.067358930117859803</cx:pt>
          <cx:pt idx="53">0.088657942650208502</cx:pt>
          <cx:pt idx="54">0.063905563226241302</cx:pt>
          <cx:pt idx="55">0.081396583365774003</cx:pt>
          <cx:pt idx="56">0.064342159662542697</cx:pt>
          <cx:pt idx="57">0.069631401464445797</cx:pt>
          <cx:pt idx="58">0</cx:pt>
          <cx:pt idx="59">0.022696387347221701</cx:pt>
          <cx:pt idx="60">0.016539816337911201</cx:pt>
          <cx:pt idx="61">0.0277121718568837</cx:pt>
          <cx:pt idx="62">0.00521206108493074</cx:pt>
          <cx:pt idx="63">0.0117877708477057</cx:pt>
          <cx:pt idx="64">0</cx:pt>
          <cx:pt idx="65">0.015300566204762601</cx:pt>
          <cx:pt idx="66">0.067678434724518594</cx:pt>
          <cx:pt idx="67">0.083693939522149402</cx:pt>
          <cx:pt idx="68">0.107817405918047</cx:pt>
          <cx:pt idx="69">0.098693334804125593</cx:pt>
          <cx:pt idx="70">0.23766724668560099</cx:pt>
          <cx:pt idx="71">0.246311761691964</cx:pt>
          <cx:pt idx="72">0.23022468161860499</cx:pt>
          <cx:pt idx="73">0.33125952855198698</cx:pt>
          <cx:pt idx="74">0.42877212941277398</cx:pt>
          <cx:pt idx="75">0.43688150952947902</cx:pt>
          <cx:pt idx="76">0.42850062076058598</cx:pt>
          <cx:pt idx="77">0.48166074380117602</cx:pt>
          <cx:pt idx="78">0.50462414221397101</cx:pt>
          <cx:pt idx="79">0.49262315811816698</cx:pt>
          <cx:pt idx="80">0.53927023231577798</cx:pt>
          <cx:pt idx="81">0.54860781000494396</cx:pt>
          <cx:pt idx="82">0.51954411193585603</cx:pt>
          <cx:pt idx="83">0.43938134613447299</cx:pt>
          <cx:pt idx="84">0.38454646021865202</cx:pt>
          <cx:pt idx="85">0.331703572065909</cx:pt>
          <cx:pt idx="86">0.37117707022233898</cx:pt>
          <cx:pt idx="87">0.27919768324038302</cx:pt>
          <cx:pt idx="88">0.26201239451422598</cx:pt>
          <cx:pt idx="89">0.36890246578401198</cx:pt>
          <cx:pt idx="90">0.37968731020241397</cx:pt>
          <cx:pt idx="91">0.29225692601592801</cx:pt>
          <cx:pt idx="92">0.25079096876428802</cx:pt>
          <cx:pt idx="93">0.283504137607485</cx:pt>
          <cx:pt idx="94">0.16494225160665099</cx:pt>
          <cx:pt idx="95">0.12091446905011</cx:pt>
          <cx:pt idx="96">0.34103787615929299</cx:pt>
          <cx:pt idx="97">0.34972421206784099</cx:pt>
          <cx:pt idx="98">0.33217572682951202</cx:pt>
          <cx:pt idx="99">0.360527456042946</cx:pt>
          <cx:pt idx="100">0.36070803161019099</cx:pt>
          <cx:pt idx="101">0.36741978108315598</cx:pt>
          <cx:pt idx="102">0.33785071243096398</cx:pt>
          <cx:pt idx="103">0.32718796385974103</cx:pt>
          <cx:pt idx="104">0.363132855424811</cx:pt>
          <cx:pt idx="105">0.23271498741907601</cx:pt>
          <cx:pt idx="106">0.16874719914487599</cx:pt>
          <cx:pt idx="107">0.248353912732939</cx:pt>
          <cx:pt idx="108">0.20642032527297299</cx:pt>
          <cx:pt idx="109">0.21502078987300499</cx:pt>
          <cx:pt idx="110">0.25646793458988498</cx:pt>
          <cx:pt idx="111">0.27335074905134699</cx:pt>
          <cx:pt idx="112">0.220076597071061</cx:pt>
          <cx:pt idx="113">0.24987000695137801</cx:pt>
          <cx:pt idx="114">0.21162589519842701</cx:pt>
          <cx:pt idx="115">0.200644148995715</cx:pt>
          <cx:pt idx="116">0.20501009805064199</cx:pt>
          <cx:pt idx="117">0.201087749474991</cx:pt>
          <cx:pt idx="118">0.20484318045776101</cx:pt>
          <cx:pt idx="119">0.21311206810247199</cx:pt>
          <cx:pt idx="120">0.25672594701576401</cx:pt>
          <cx:pt idx="121">0.32810503011516401</cx:pt>
          <cx:pt idx="122">0.33603986918838502</cx:pt>
          <cx:pt idx="123">0.33529375196269301</cx:pt>
          <cx:pt idx="124">0.31486391021710203</cx:pt>
          <cx:pt idx="125">0.31906503793528201</cx:pt>
          <cx:pt idx="126">0.32517890693031598</cx:pt>
          <cx:pt idx="127">0.318355225533691</cx:pt>
          <cx:pt idx="128">0.33045289264316902</cx:pt>
          <cx:pt idx="129">0.328007536826458</cx:pt>
          <cx:pt idx="130">0.34817733766319803</cx:pt>
          <cx:pt idx="131">0.338375530788812</cx:pt>
          <cx:pt idx="132">0.35373902377127198</cx:pt>
          <cx:pt idx="133">0.32324772200167601</cx:pt>
          <cx:pt idx="134">0.34675771777513698</cx:pt>
          <cx:pt idx="135">0.34586919288115697</cx:pt>
          <cx:pt idx="136">0.34463173287689702</cx:pt>
          <cx:pt idx="137">0.32443577701624399</cx:pt>
          <cx:pt idx="138">0.295116789962443</cx:pt>
          <cx:pt idx="139">0.29237748334531899</cx:pt>
          <cx:pt idx="140">0.29593010293058303</cx:pt>
          <cx:pt idx="141">0.28638006265360499</cx:pt>
          <cx:pt idx="142">0.29644229774440001</cx:pt>
          <cx:pt idx="143">0.036143285045236798</cx:pt>
          <cx:pt idx="144">0.00957962229885281</cx:pt>
          <cx:pt idx="145">0.021780127067856099</cx:pt>
          <cx:pt idx="146">0</cx:pt>
          <cx:pt idx="147">0.038546278262121002</cx:pt>
          <cx:pt idx="148">0.028775119562126202</cx:pt>
          <cx:pt idx="149">0.068641656942923499</cx:pt>
          <cx:pt idx="150">0.180429417408736</cx:pt>
          <cx:pt idx="151">0.20151728357295801</cx:pt>
          <cx:pt idx="152">0.16385268201807099</cx:pt>
          <cx:pt idx="153">0.186722311989416</cx:pt>
          <cx:pt idx="154">0.16924827174002999</cx:pt>
          <cx:pt idx="155">0.17469450899501199</cx:pt>
          <cx:pt idx="156">0.165805533875134</cx:pt>
          <cx:pt idx="157">0.12792770999602801</cx:pt>
          <cx:pt idx="158">0.044706980237012597</cx:pt>
          <cx:pt idx="159">0.063017146733551604</cx:pt>
          <cx:pt idx="160">0.051042897377615998</cx:pt>
          <cx:pt idx="161">0.057037977195448598</cx:pt>
          <cx:pt idx="162">0.052189814124550003</cx:pt>
          <cx:pt idx="163">0.051882965579074</cx:pt>
          <cx:pt idx="164">0.070755730912937798</cx:pt>
          <cx:pt idx="165">0.099365459365521505</cx:pt>
          <cx:pt idx="166">0.029552805000926798</cx:pt>
          <cx:pt idx="167">0.16827936347465899</cx:pt>
          <cx:pt idx="168">0.11803352680206</cx:pt>
          <cx:pt idx="169">0.100231362467866</cx:pt>
          <cx:pt idx="170">0</cx:pt>
          <cx:pt idx="171">0.012700808130220001</cx:pt>
          <cx:pt idx="172">0</cx:pt>
          <cx:pt idx="173">0</cx:pt>
          <cx:pt idx="174">0.049679287107025599</cx:pt>
          <cx:pt idx="175">0.040508274515783503</cx:pt>
          <cx:pt idx="176">0.075093309903158795</cx:pt>
          <cx:pt idx="177">0.0269710322857157</cx:pt>
          <cx:pt idx="178">0.059112441529216797</cx:pt>
          <cx:pt idx="179">0.12399238507070399</cx:pt>
          <cx:pt idx="180">0.13391478940911</cx:pt>
          <cx:pt idx="181">0.117695920876878</cx:pt>
          <cx:pt idx="182">0.14196737993835601</cx:pt>
          <cx:pt idx="183">0.11530094734358</cx:pt>
          <cx:pt idx="184">0.13695079300389701</cx:pt>
          <cx:pt idx="185">0.127848664862455</cx:pt>
          <cx:pt idx="186">0.083412001286185394</cx:pt>
          <cx:pt idx="187">0.063576470463891199</cx:pt>
          <cx:pt idx="188">0.088791060678571204</cx:pt>
          <cx:pt idx="189">0.080234750748384306</cx:pt>
          <cx:pt idx="190">0.089702467437903097</cx:pt>
        </cx:lvl>
      </cx:numDim>
    </cx:data>
  </cx:chartData>
  <cx:chart>
    <cx:plotArea>
      <cx:plotAreaRegion>
        <cx:series layoutId="clusteredColumn" uniqueId="{5F428B18-5CC0-4302-AE7D-FB0EA6F85AE3}">
          <cx:tx>
            <cx:txData>
              <cx:f>'2.'!$O$1</cx:f>
              <cx:v>360个交易日内最大亏损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700"/>
            </a:pPr>
            <a:endParaRPr lang="zh-CN" altLang="en-US" sz="700" b="0" i="0" u="none" strike="noStrike" kern="1200" baseline="0">
              <a:solidFill>
                <a:prstClr val="black"/>
              </a:solidFill>
              <a:latin typeface="Arial"/>
              <a:ea typeface="楷体_GB2312"/>
            </a:endParaRPr>
          </a:p>
        </cx:txPr>
      </cx:axis>
      <cx:axis id="1">
        <cx:val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</cx:plotArea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3.'!$N$2:$N$136</cx:f>
        <cx:lvl ptCount="135" formatCode="G/通用格式">
          <cx:pt idx="0">0.49317102763868398</cx:pt>
          <cx:pt idx="1">0.49317102763868398</cx:pt>
          <cx:pt idx="2">0.49317102763868398</cx:pt>
          <cx:pt idx="3">0.49317102763868398</cx:pt>
          <cx:pt idx="4">0.49317102763868398</cx:pt>
          <cx:pt idx="5">0.47995459565080201</cx:pt>
          <cx:pt idx="6">0.37773380054484701</cx:pt>
          <cx:pt idx="7">0.37773380054484701</cx:pt>
          <cx:pt idx="8">0.35539982670520498</cx:pt>
          <cx:pt idx="9">0.35539982670520498</cx:pt>
          <cx:pt idx="10">0.35539982670520498</cx:pt>
          <cx:pt idx="11">0.35539982670520498</cx:pt>
          <cx:pt idx="12">0.28403619979353001</cx:pt>
          <cx:pt idx="13">0.26657120866386302</cx:pt>
          <cx:pt idx="14">0.25684463789233603</cx:pt>
          <cx:pt idx="15">0.2131012385347</cx:pt>
          <cx:pt idx="16">0.2131012385347</cx:pt>
          <cx:pt idx="17">0.2131012385347</cx:pt>
          <cx:pt idx="18">0.2131012385347</cx:pt>
          <cx:pt idx="19">0.2131012385347</cx:pt>
          <cx:pt idx="20">0.2131012385347</cx:pt>
          <cx:pt idx="21">0.2131012385347</cx:pt>
          <cx:pt idx="22">0.2131012385347</cx:pt>
          <cx:pt idx="23">0.54860781000494396</cx:pt>
          <cx:pt idx="24">0.54860781000494396</cx:pt>
          <cx:pt idx="25">0.54860781000494396</cx:pt>
          <cx:pt idx="26">0.54860781000494396</cx:pt>
          <cx:pt idx="27">0.54860781000494396</cx:pt>
          <cx:pt idx="28">0.54860781000494396</cx:pt>
          <cx:pt idx="29">0.54860781000494396</cx:pt>
          <cx:pt idx="30">0.54860781000494396</cx:pt>
          <cx:pt idx="31">0.54860781000494396</cx:pt>
          <cx:pt idx="32">0.54860781000494396</cx:pt>
          <cx:pt idx="33">0.54860781000494396</cx:pt>
          <cx:pt idx="34">0.54860781000494396</cx:pt>
          <cx:pt idx="35">0.54860781000494396</cx:pt>
          <cx:pt idx="36">0.54860781000494396</cx:pt>
          <cx:pt idx="37">0.54860781000494396</cx:pt>
          <cx:pt idx="38">0.54860781000494396</cx:pt>
          <cx:pt idx="39">0.54860781000494396</cx:pt>
          <cx:pt idx="40">0.54860781000494396</cx:pt>
          <cx:pt idx="41">0.54860781000494396</cx:pt>
          <cx:pt idx="42">0.54860781000494396</cx:pt>
          <cx:pt idx="43">0.54860781000494396</cx:pt>
          <cx:pt idx="44">0.54860781000494396</cx:pt>
          <cx:pt idx="45">0.51954411193585603</cx:pt>
          <cx:pt idx="46">0.43938134613447299</cx:pt>
          <cx:pt idx="47">0.39434431554149102</cx:pt>
          <cx:pt idx="48">0.39434431554149102</cx:pt>
          <cx:pt idx="49">0.39434431554149102</cx:pt>
          <cx:pt idx="50">0.39434431554149102</cx:pt>
          <cx:pt idx="51">0.39434431554149102</cx:pt>
          <cx:pt idx="52">0.39434431554149102</cx:pt>
          <cx:pt idx="53">0.37968731020241397</cx:pt>
          <cx:pt idx="54">0.368143536875222</cx:pt>
          <cx:pt idx="55">0.368143536875222</cx:pt>
          <cx:pt idx="56">0.368143536875222</cx:pt>
          <cx:pt idx="57">0.368143536875222</cx:pt>
          <cx:pt idx="58">0.368143536875222</cx:pt>
          <cx:pt idx="59">0.368143536875222</cx:pt>
          <cx:pt idx="60">0.368143536875222</cx:pt>
          <cx:pt idx="61">0.368143536875222</cx:pt>
          <cx:pt idx="62">0.368143536875222</cx:pt>
          <cx:pt idx="63">0.368143536875222</cx:pt>
          <cx:pt idx="64">0.37536904211771999</cx:pt>
          <cx:pt idx="65">0.37536904211771999</cx:pt>
          <cx:pt idx="66">0.37536904211771999</cx:pt>
          <cx:pt idx="67">0.38268655552292202</cx:pt>
          <cx:pt idx="68">0.38868772408871</cx:pt>
          <cx:pt idx="69">0.38868772408871</cx:pt>
          <cx:pt idx="70">0.38868772408871</cx:pt>
          <cx:pt idx="71">0.37626344612324802</cx:pt>
          <cx:pt idx="72">0.39134574618677298</cx:pt>
          <cx:pt idx="73">0.39134574618677298</cx:pt>
          <cx:pt idx="74">0.38175106768057498</cx:pt>
          <cx:pt idx="75">0.381518787145806</cx:pt>
          <cx:pt idx="76">0.29974404119972398</cx:pt>
          <cx:pt idx="77">0.28736982628590502</cx:pt>
          <cx:pt idx="78">0.28736982628590502</cx:pt>
          <cx:pt idx="79">0.28736982628590502</cx:pt>
          <cx:pt idx="80">0.28736982628590502</cx:pt>
          <cx:pt idx="81">0.28736982628590502</cx:pt>
          <cx:pt idx="82">0.28736982628590502</cx:pt>
          <cx:pt idx="83">0.28736982628590502</cx:pt>
          <cx:pt idx="84">0.28736982628590502</cx:pt>
          <cx:pt idx="85">0.28736982628590502</cx:pt>
          <cx:pt idx="86">0.28736982628590502</cx:pt>
          <cx:pt idx="87">0.24162136266315101</cx:pt>
          <cx:pt idx="88">0.20299292382362699</cx:pt>
          <cx:pt idx="89">0.20299292382362699</cx:pt>
          <cx:pt idx="90">0.20042522545102701</cx:pt>
          <cx:pt idx="91">0.20042522545102701</cx:pt>
          <cx:pt idx="92">0.235939601676108</cx:pt>
          <cx:pt idx="93">0.235939601676108</cx:pt>
          <cx:pt idx="94">0.36593369986146101</cx:pt>
          <cx:pt idx="95">0.36593369986146101</cx:pt>
          <cx:pt idx="96">0.26596894721430803</cx:pt>
          <cx:pt idx="97">0.26176784900807398</cx:pt>
          <cx:pt idx="98">0.26176784900807398</cx:pt>
          <cx:pt idx="99">0.26176784900807398</cx:pt>
          <cx:pt idx="100">0.26176784900807398</cx:pt>
          <cx:pt idx="101">0.26176784900807398</cx:pt>
          <cx:pt idx="102">0.26176784900807398</cx:pt>
          <cx:pt idx="103">0.26176784900807398</cx:pt>
          <cx:pt idx="104">0.26176784900807398</cx:pt>
          <cx:pt idx="105">0.26176784900807398</cx:pt>
          <cx:pt idx="106">0.24428945430591301</cx:pt>
          <cx:pt idx="107">0.20122290285141201</cx:pt>
          <cx:pt idx="108">0.20122290285141201</cx:pt>
          <cx:pt idx="109">0.20122290285141201</cx:pt>
          <cx:pt idx="110">0.20064572425982299</cx:pt>
          <cx:pt idx="111">0.20064572425982299</cx:pt>
          <cx:pt idx="112">0.20064572425982299</cx:pt>
          <cx:pt idx="113">0.20064572425982299</cx:pt>
          <cx:pt idx="114">0.20064572425982299</cx:pt>
          <cx:pt idx="115">0.20064572425982299</cx:pt>
          <cx:pt idx="116">0.20064572425982299</cx:pt>
          <cx:pt idx="117">0.20064572425982299</cx:pt>
          <cx:pt idx="118">0.20064572425982299</cx:pt>
          <cx:pt idx="119">0.20064572425982299</cx:pt>
          <cx:pt idx="120">0.20064572425982299</cx:pt>
          <cx:pt idx="121">0.20064572425982299</cx:pt>
          <cx:pt idx="122">0.20064572425982299</cx:pt>
          <cx:pt idx="123">0.20064572425982299</cx:pt>
          <cx:pt idx="124">0.20064572425982299</cx:pt>
          <cx:pt idx="125">0.20064572425982299</cx:pt>
          <cx:pt idx="126">0.20064572425982299</cx:pt>
          <cx:pt idx="127">0.20064572425982299</cx:pt>
          <cx:pt idx="128">0.20064572425982299</cx:pt>
          <cx:pt idx="129">0.20064572425982299</cx:pt>
          <cx:pt idx="130">0.20064572425982299</cx:pt>
          <cx:pt idx="131">0.20064572425982299</cx:pt>
          <cx:pt idx="132">0.16943695648686899</cx:pt>
          <cx:pt idx="133">0.049836211837587997</cx:pt>
          <cx:pt idx="134">0</cx:pt>
        </cx:lvl>
      </cx:numDim>
    </cx:data>
  </cx:chartData>
  <cx:chart>
    <cx:plotArea>
      <cx:plotAreaRegion>
        <cx:series layoutId="clusteredColumn" uniqueId="{5F428B18-5CC0-4302-AE7D-FB0EA6F85AE3}">
          <cx:tx>
            <cx:txData>
              <cx:f>'3.'!$N$1</cx:f>
              <cx:v>360个交易日内最大回撤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  <cx:axis id="1">
        <cx:val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</cx:plotArea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3.'!$O$2:$O$136</cx:f>
        <cx:lvl ptCount="135" formatCode="G/通用格式">
          <cx:pt idx="0">0.47198145841747602</cx:pt>
          <cx:pt idx="1">0.48288220447680902</cx:pt>
          <cx:pt idx="2">0.47325259323071101</cx:pt>
          <cx:pt idx="3">0.48782404865135098</cx:pt>
          <cx:pt idx="4">0.46442366778910898</cx:pt>
          <cx:pt idx="5">0.47995459565080201</cx:pt>
          <cx:pt idx="6">0.260363028367742</cx:pt>
          <cx:pt idx="7">0.249968099071019</cx:pt>
          <cx:pt idx="8">0.27382372188889498</cx:pt>
          <cx:pt idx="9">0.244852452009855</cx:pt>
          <cx:pt idx="10">0.26201711509678799</cx:pt>
          <cx:pt idx="11">0.23141854714465099</cx:pt>
          <cx:pt idx="12">0.28403619979353001</cx:pt>
          <cx:pt idx="13">0.25089748200304102</cx:pt>
          <cx:pt idx="14">0.25684463789233603</cx:pt>
          <cx:pt idx="15">0</cx:pt>
          <cx:pt idx="16">0.046229895434197602</cx:pt>
          <cx:pt idx="17">0.065823546423692106</cx:pt>
          <cx:pt idx="18">0.047747783363937098</cx:pt>
          <cx:pt idx="19">0.065767605064277104</cx:pt>
          <cx:pt idx="20">0</cx:pt>
          <cx:pt idx="21">0.033557150965182997</cx:pt>
          <cx:pt idx="22">0</cx:pt>
          <cx:pt idx="23">0.067272170929535094</cx:pt>
          <cx:pt idx="24">0.099724079674691504</cx:pt>
          <cx:pt idx="25">0.080342515581057705</cx:pt>
          <cx:pt idx="26">0.085610006444094</cx:pt>
          <cx:pt idx="27">0</cx:pt>
          <cx:pt idx="28">0.0092638623804621699</cx:pt>
          <cx:pt idx="29">0</cx:pt>
          <cx:pt idx="30">0.083693939522149402</cx:pt>
          <cx:pt idx="31">0.107817405918047</cx:pt>
          <cx:pt idx="32">0.078836300949370594</cx:pt>
          <cx:pt idx="33">0.23022468161860499</cx:pt>
          <cx:pt idx="34">0.33125952855198698</cx:pt>
          <cx:pt idx="35">0.36822573185081597</cx:pt>
          <cx:pt idx="36">0.354196583152591</cx:pt>
          <cx:pt idx="37">0.42877212941277398</cx:pt>
          <cx:pt idx="38">0.43688150952947902</cx:pt>
          <cx:pt idx="39">0.42850062076058598</cx:pt>
          <cx:pt idx="40">0.48166074380117602</cx:pt>
          <cx:pt idx="41">0.50462414221397101</cx:pt>
          <cx:pt idx="42">0.49262315811816698</cx:pt>
          <cx:pt idx="43">0.53927023231577798</cx:pt>
          <cx:pt idx="44">0.54860781000494396</cx:pt>
          <cx:pt idx="45">0.51954411193585603</cx:pt>
          <cx:pt idx="46">0.43938134613447299</cx:pt>
          <cx:pt idx="47">0.38454646021865202</cx:pt>
          <cx:pt idx="48">0.331703572065909</cx:pt>
          <cx:pt idx="49">0.37117707022233898</cx:pt>
          <cx:pt idx="50">0.27919768324038302</cx:pt>
          <cx:pt idx="51">0.239627858813417</cx:pt>
          <cx:pt idx="52">0.35416897206361803</cx:pt>
          <cx:pt idx="53">0.37968731020241397</cx:pt>
          <cx:pt idx="54">0.283504137607485</cx:pt>
          <cx:pt idx="55">0.16494225160665099</cx:pt>
          <cx:pt idx="56">0.082642253561378498</cx:pt>
          <cx:pt idx="57">0.099810452884896997</cx:pt>
          <cx:pt idx="58">0.0506801878616608</cx:pt>
          <cx:pt idx="59">0.127613376332501</cx:pt>
          <cx:pt idx="60">0.076867066875476994</cx:pt>
          <cx:pt idx="61">0.205707020771773</cx:pt>
          <cx:pt idx="62">0.27091671432052999</cx:pt>
          <cx:pt idx="63">0.219168138045156</cx:pt>
          <cx:pt idx="64">0.34103787615929299</cx:pt>
          <cx:pt idx="65">0.35468102031000298</cx:pt>
          <cx:pt idx="66">0.33217572682951202</cx:pt>
          <cx:pt idx="67">0.360527456042946</cx:pt>
          <cx:pt idx="68">0.36070803161019099</cx:pt>
          <cx:pt idx="69">0.36741978108315598</cx:pt>
          <cx:pt idx="70">0.36066765153973301</cx:pt>
          <cx:pt idx="71">0.37479854920129102</cx:pt>
          <cx:pt idx="72">0.37444202446949298</cx:pt>
          <cx:pt idx="73">0.39134574618677298</cx:pt>
          <cx:pt idx="74">0.379122122515483</cx:pt>
          <cx:pt idx="75">0.381518787145806</cx:pt>
          <cx:pt idx="76">0.29974404119972398</cx:pt>
          <cx:pt idx="77">0.170732253130843</cx:pt>
          <cx:pt idx="78">0.13114755560171401</cx:pt>
          <cx:pt idx="79">0.17791609592440399</cx:pt>
          <cx:pt idx="80">0.14392628321909001</cx:pt>
          <cx:pt idx="81">0.17470324990184699</cx:pt>
          <cx:pt idx="82">0.151996025253259</cx:pt>
          <cx:pt idx="83">0.172689668468193</cx:pt>
          <cx:pt idx="84">0.14390460341004799</cx:pt>
          <cx:pt idx="85">0.17050592913086099</cx:pt>
          <cx:pt idx="86">0.162375994797571</cx:pt>
          <cx:pt idx="87">0.24162136266315101</cx:pt>
          <cx:pt idx="88">0.19401423384521299</cx:pt>
          <cx:pt idx="89">0.20299292382362699</cx:pt>
          <cx:pt idx="90">0.19663398606424901</cx:pt>
          <cx:pt idx="91">0.20042522545102701</cx:pt>
          <cx:pt idx="92">0.22492182625283</cx:pt>
          <cx:pt idx="93">0.235939601676108</cx:pt>
          <cx:pt idx="94">0.26586519918263901</cx:pt>
          <cx:pt idx="95">0.243313229642108</cx:pt>
          <cx:pt idx="96">0.26596894721430803</cx:pt>
          <cx:pt idx="97">0.219369218826613</cx:pt>
          <cx:pt idx="98">0.25000287854464698</cx:pt>
          <cx:pt idx="99">0.24134273422649399</cx:pt>
          <cx:pt idx="100">0.25019309358099201</cx:pt>
          <cx:pt idx="101">0.23825248421200801</cx:pt>
          <cx:pt idx="102">0.243534538904883</cx:pt>
          <cx:pt idx="103">0.229030808213774</cx:pt>
          <cx:pt idx="104">0.25054834487137401</cx:pt>
          <cx:pt idx="105">0.24214878740991</cx:pt>
          <cx:pt idx="106">0.24428945430591301</cx:pt>
          <cx:pt idx="107">0.096830476905305607</cx:pt>
          <cx:pt idx="108">0.12792770999602801</cx:pt>
          <cx:pt idx="109">0</cx:pt>
          <cx:pt idx="110">0.087061548932632696</cx:pt>
          <cx:pt idx="111">0.099365459365521505</cx:pt>
          <cx:pt idx="112">0.0580359099242026</cx:pt>
          <cx:pt idx="113">0.100231362467866</cx:pt>
          <cx:pt idx="114">0.0212117293062099</cx:pt>
          <cx:pt idx="115">0.037080447346577797</cx:pt>
          <cx:pt idx="116">0</cx:pt>
          <cx:pt idx="117">0</cx:pt>
          <cx:pt idx="118">0.106327048393448</cx:pt>
          <cx:pt idx="119">0.11732029102678</cx:pt>
          <cx:pt idx="120">0.10328404046474</cx:pt>
          <cx:pt idx="121">0.11309958107614999</cx:pt>
          <cx:pt idx="122">0.094984257373142006</cx:pt>
          <cx:pt idx="123">0.117732090802298</cx:pt>
          <cx:pt idx="124">0.051323268159544397</cx:pt>
          <cx:pt idx="125">0.064024250702505503</cx:pt>
          <cx:pt idx="126">0.045255054615292702</cx:pt>
          <cx:pt idx="127">0.0727120682183902</cx:pt>
          <cx:pt idx="128">0.0186593075444716</cx:pt>
          <cx:pt idx="129">0.11530094734358</cx:pt>
          <cx:pt idx="130">0.16829675920415799</cx:pt>
          <cx:pt idx="131">0.13644003612286101</cx:pt>
          <cx:pt idx="132">0.16943695648686899</cx:pt>
          <cx:pt idx="133">0.049836211837587997</cx:pt>
          <cx:pt idx="134">0</cx:pt>
        </cx:lvl>
      </cx:numDim>
    </cx:data>
  </cx:chartData>
  <cx:chart>
    <cx:plotArea>
      <cx:plotAreaRegion>
        <cx:series layoutId="clusteredColumn" uniqueId="{27F1C436-756D-4A95-9497-5CC485064A3B}">
          <cx:tx>
            <cx:txData>
              <cx:f>'3.'!$O$1</cx:f>
              <cx:v>360个交易日内最大亏损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  <cx:axis id="1">
        <cx:val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</cx:plotArea>
  </cx:chart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4.'!$O$2:$O$2617</cx:f>
        <cx:lvl ptCount="2616" formatCode="G/通用格式">
          <cx:pt idx="0">823</cx:pt>
          <cx:pt idx="1">823</cx:pt>
          <cx:pt idx="2">823</cx:pt>
          <cx:pt idx="3">823</cx:pt>
          <cx:pt idx="4">823</cx:pt>
          <cx:pt idx="5">823</cx:pt>
          <cx:pt idx="6">823</cx:pt>
          <cx:pt idx="7">823</cx:pt>
          <cx:pt idx="8">823</cx:pt>
          <cx:pt idx="9">823</cx:pt>
          <cx:pt idx="10">823</cx:pt>
          <cx:pt idx="11">823</cx:pt>
          <cx:pt idx="12">823</cx:pt>
          <cx:pt idx="13">823</cx:pt>
          <cx:pt idx="14">823</cx:pt>
          <cx:pt idx="15">823</cx:pt>
          <cx:pt idx="16">823</cx:pt>
          <cx:pt idx="17">823</cx:pt>
          <cx:pt idx="18">823</cx:pt>
          <cx:pt idx="19">823</cx:pt>
          <cx:pt idx="20">823</cx:pt>
          <cx:pt idx="21">823</cx:pt>
          <cx:pt idx="22">823</cx:pt>
          <cx:pt idx="23">823</cx:pt>
          <cx:pt idx="24">823</cx:pt>
          <cx:pt idx="25">823</cx:pt>
          <cx:pt idx="26">823</cx:pt>
          <cx:pt idx="27">823</cx:pt>
          <cx:pt idx="28">823</cx:pt>
          <cx:pt idx="29">823</cx:pt>
          <cx:pt idx="30">823</cx:pt>
          <cx:pt idx="31">823</cx:pt>
          <cx:pt idx="32">823</cx:pt>
          <cx:pt idx="33">823</cx:pt>
          <cx:pt idx="34">823</cx:pt>
          <cx:pt idx="35">823</cx:pt>
          <cx:pt idx="36">823</cx:pt>
          <cx:pt idx="37">823</cx:pt>
          <cx:pt idx="38">823</cx:pt>
          <cx:pt idx="39">823</cx:pt>
          <cx:pt idx="40">823</cx:pt>
          <cx:pt idx="41">823</cx:pt>
          <cx:pt idx="42">823</cx:pt>
          <cx:pt idx="43">823</cx:pt>
          <cx:pt idx="44">823</cx:pt>
          <cx:pt idx="45">823</cx:pt>
          <cx:pt idx="46">823</cx:pt>
          <cx:pt idx="47">823</cx:pt>
          <cx:pt idx="48">823</cx:pt>
          <cx:pt idx="49">823</cx:pt>
          <cx:pt idx="50">823</cx:pt>
          <cx:pt idx="51">823</cx:pt>
          <cx:pt idx="52">823</cx:pt>
          <cx:pt idx="53">823</cx:pt>
          <cx:pt idx="54">823</cx:pt>
          <cx:pt idx="55">823</cx:pt>
          <cx:pt idx="56">823</cx:pt>
          <cx:pt idx="57">823</cx:pt>
          <cx:pt idx="58">823</cx:pt>
          <cx:pt idx="59">823</cx:pt>
          <cx:pt idx="60">823</cx:pt>
          <cx:pt idx="61">823</cx:pt>
          <cx:pt idx="62">823</cx:pt>
          <cx:pt idx="63">823</cx:pt>
          <cx:pt idx="64">823</cx:pt>
          <cx:pt idx="65">823</cx:pt>
          <cx:pt idx="66">823</cx:pt>
          <cx:pt idx="67">823</cx:pt>
          <cx:pt idx="68">823</cx:pt>
          <cx:pt idx="69">823</cx:pt>
          <cx:pt idx="70">823</cx:pt>
          <cx:pt idx="71">823</cx:pt>
          <cx:pt idx="72">823</cx:pt>
          <cx:pt idx="73">823</cx:pt>
          <cx:pt idx="74">823</cx:pt>
          <cx:pt idx="75">823</cx:pt>
          <cx:pt idx="76">823</cx:pt>
          <cx:pt idx="77">823</cx:pt>
          <cx:pt idx="78">823</cx:pt>
          <cx:pt idx="79">823</cx:pt>
          <cx:pt idx="80">823</cx:pt>
          <cx:pt idx="81">823</cx:pt>
          <cx:pt idx="82">823</cx:pt>
          <cx:pt idx="83">823</cx:pt>
          <cx:pt idx="84">823</cx:pt>
          <cx:pt idx="85">823</cx:pt>
          <cx:pt idx="86">823</cx:pt>
          <cx:pt idx="87">823</cx:pt>
          <cx:pt idx="88">823</cx:pt>
          <cx:pt idx="89">823</cx:pt>
          <cx:pt idx="90">823</cx:pt>
          <cx:pt idx="91">823</cx:pt>
          <cx:pt idx="92">823</cx:pt>
          <cx:pt idx="93">823</cx:pt>
          <cx:pt idx="94">823</cx:pt>
          <cx:pt idx="95">823</cx:pt>
          <cx:pt idx="96">823</cx:pt>
          <cx:pt idx="97">823</cx:pt>
          <cx:pt idx="98">823</cx:pt>
          <cx:pt idx="99">823</cx:pt>
          <cx:pt idx="100">823</cx:pt>
          <cx:pt idx="101">823</cx:pt>
          <cx:pt idx="102">823</cx:pt>
          <cx:pt idx="103">823</cx:pt>
          <cx:pt idx="104">823</cx:pt>
          <cx:pt idx="105">823</cx:pt>
          <cx:pt idx="106">823</cx:pt>
          <cx:pt idx="107">823</cx:pt>
          <cx:pt idx="108">823</cx:pt>
          <cx:pt idx="109">823</cx:pt>
          <cx:pt idx="110">823</cx:pt>
          <cx:pt idx="111">823</cx:pt>
          <cx:pt idx="112">823</cx:pt>
          <cx:pt idx="113">823</cx:pt>
          <cx:pt idx="114">823</cx:pt>
          <cx:pt idx="115">823</cx:pt>
          <cx:pt idx="116">823</cx:pt>
          <cx:pt idx="117">823</cx:pt>
          <cx:pt idx="118">823</cx:pt>
          <cx:pt idx="119">823</cx:pt>
          <cx:pt idx="120">823</cx:pt>
          <cx:pt idx="121">823</cx:pt>
          <cx:pt idx="122">823</cx:pt>
          <cx:pt idx="123">823</cx:pt>
          <cx:pt idx="124">823</cx:pt>
          <cx:pt idx="125">823</cx:pt>
          <cx:pt idx="126">823</cx:pt>
          <cx:pt idx="127">823</cx:pt>
          <cx:pt idx="128">823</cx:pt>
          <cx:pt idx="129">823</cx:pt>
          <cx:pt idx="130">823</cx:pt>
          <cx:pt idx="131">823</cx:pt>
          <cx:pt idx="132">823</cx:pt>
          <cx:pt idx="133">823</cx:pt>
          <cx:pt idx="134">823</cx:pt>
          <cx:pt idx="135">823</cx:pt>
          <cx:pt idx="136">823</cx:pt>
          <cx:pt idx="137">823</cx:pt>
          <cx:pt idx="138">823</cx:pt>
          <cx:pt idx="139">823</cx:pt>
          <cx:pt idx="140">823</cx:pt>
          <cx:pt idx="141">823</cx:pt>
          <cx:pt idx="142">823</cx:pt>
          <cx:pt idx="143">823</cx:pt>
          <cx:pt idx="144">823</cx:pt>
          <cx:pt idx="145">823</cx:pt>
          <cx:pt idx="146">823</cx:pt>
          <cx:pt idx="147">823</cx:pt>
          <cx:pt idx="148">823</cx:pt>
          <cx:pt idx="149">823</cx:pt>
          <cx:pt idx="150">823</cx:pt>
          <cx:pt idx="151">823</cx:pt>
          <cx:pt idx="152">823</cx:pt>
          <cx:pt idx="153">823</cx:pt>
          <cx:pt idx="154">823</cx:pt>
          <cx:pt idx="155">823</cx:pt>
          <cx:pt idx="156">823</cx:pt>
          <cx:pt idx="157">823</cx:pt>
          <cx:pt idx="158">823</cx:pt>
          <cx:pt idx="159">823</cx:pt>
          <cx:pt idx="160">823</cx:pt>
          <cx:pt idx="161">823</cx:pt>
          <cx:pt idx="162">823</cx:pt>
          <cx:pt idx="163">823</cx:pt>
          <cx:pt idx="164">823</cx:pt>
          <cx:pt idx="165">823</cx:pt>
          <cx:pt idx="166">823</cx:pt>
          <cx:pt idx="167">823</cx:pt>
          <cx:pt idx="168">823</cx:pt>
          <cx:pt idx="169">823</cx:pt>
          <cx:pt idx="170">823</cx:pt>
          <cx:pt idx="171">823</cx:pt>
          <cx:pt idx="172">823</cx:pt>
          <cx:pt idx="173">823</cx:pt>
          <cx:pt idx="174">823</cx:pt>
          <cx:pt idx="175">823</cx:pt>
          <cx:pt idx="176">823</cx:pt>
          <cx:pt idx="177">823</cx:pt>
          <cx:pt idx="178">823</cx:pt>
          <cx:pt idx="179">823</cx:pt>
          <cx:pt idx="180">823</cx:pt>
          <cx:pt idx="181">823</cx:pt>
          <cx:pt idx="182">823</cx:pt>
          <cx:pt idx="183">823</cx:pt>
          <cx:pt idx="184">823</cx:pt>
          <cx:pt idx="185">823</cx:pt>
          <cx:pt idx="186">823</cx:pt>
          <cx:pt idx="187">823</cx:pt>
          <cx:pt idx="188">823</cx:pt>
          <cx:pt idx="189">823</cx:pt>
          <cx:pt idx="190">823</cx:pt>
          <cx:pt idx="191">823</cx:pt>
          <cx:pt idx="192">823</cx:pt>
          <cx:pt idx="193">823</cx:pt>
          <cx:pt idx="194">823</cx:pt>
          <cx:pt idx="195">823</cx:pt>
          <cx:pt idx="196">823</cx:pt>
          <cx:pt idx="197">823</cx:pt>
          <cx:pt idx="198">823</cx:pt>
          <cx:pt idx="199">823</cx:pt>
          <cx:pt idx="200">823</cx:pt>
          <cx:pt idx="201">823</cx:pt>
          <cx:pt idx="202">823</cx:pt>
          <cx:pt idx="203">823</cx:pt>
          <cx:pt idx="204">823</cx:pt>
          <cx:pt idx="205">823</cx:pt>
          <cx:pt idx="206">823</cx:pt>
          <cx:pt idx="207">823</cx:pt>
          <cx:pt idx="208">823</cx:pt>
          <cx:pt idx="209">823</cx:pt>
          <cx:pt idx="210">823</cx:pt>
          <cx:pt idx="211">823</cx:pt>
          <cx:pt idx="212">823</cx:pt>
          <cx:pt idx="213">823</cx:pt>
          <cx:pt idx="214">823</cx:pt>
          <cx:pt idx="215">823</cx:pt>
          <cx:pt idx="216">823</cx:pt>
          <cx:pt idx="217">823</cx:pt>
          <cx:pt idx="218">823</cx:pt>
          <cx:pt idx="219">823</cx:pt>
          <cx:pt idx="220">823</cx:pt>
          <cx:pt idx="221">823</cx:pt>
          <cx:pt idx="222">823</cx:pt>
          <cx:pt idx="223">823</cx:pt>
          <cx:pt idx="224">823</cx:pt>
          <cx:pt idx="225">823</cx:pt>
          <cx:pt idx="226">823</cx:pt>
          <cx:pt idx="227">823</cx:pt>
          <cx:pt idx="228">823</cx:pt>
          <cx:pt idx="229">823</cx:pt>
          <cx:pt idx="230">823</cx:pt>
          <cx:pt idx="231">823</cx:pt>
          <cx:pt idx="232">823</cx:pt>
          <cx:pt idx="233">823</cx:pt>
          <cx:pt idx="234">823</cx:pt>
          <cx:pt idx="235">823</cx:pt>
          <cx:pt idx="236">823</cx:pt>
          <cx:pt idx="237">823</cx:pt>
          <cx:pt idx="238">823</cx:pt>
          <cx:pt idx="239">823</cx:pt>
          <cx:pt idx="240">823</cx:pt>
          <cx:pt idx="241">823</cx:pt>
          <cx:pt idx="242">823</cx:pt>
          <cx:pt idx="243">823</cx:pt>
          <cx:pt idx="244">823</cx:pt>
          <cx:pt idx="245">823</cx:pt>
          <cx:pt idx="246">823</cx:pt>
          <cx:pt idx="247">823</cx:pt>
          <cx:pt idx="248">823</cx:pt>
          <cx:pt idx="249">823</cx:pt>
          <cx:pt idx="250">823</cx:pt>
          <cx:pt idx="251">823</cx:pt>
          <cx:pt idx="252">823</cx:pt>
          <cx:pt idx="253">823</cx:pt>
          <cx:pt idx="254">823</cx:pt>
          <cx:pt idx="255">823</cx:pt>
          <cx:pt idx="256">823</cx:pt>
          <cx:pt idx="257">823</cx:pt>
          <cx:pt idx="258">823</cx:pt>
          <cx:pt idx="259">823</cx:pt>
          <cx:pt idx="260">823</cx:pt>
          <cx:pt idx="261">823</cx:pt>
          <cx:pt idx="262">823</cx:pt>
          <cx:pt idx="263">823</cx:pt>
          <cx:pt idx="264">823</cx:pt>
          <cx:pt idx="265">823</cx:pt>
          <cx:pt idx="266">823</cx:pt>
          <cx:pt idx="267">823</cx:pt>
          <cx:pt idx="268">823</cx:pt>
          <cx:pt idx="269">823</cx:pt>
          <cx:pt idx="270">823</cx:pt>
          <cx:pt idx="271">823</cx:pt>
          <cx:pt idx="272">823</cx:pt>
          <cx:pt idx="273">823</cx:pt>
          <cx:pt idx="274">823</cx:pt>
          <cx:pt idx="275">823</cx:pt>
          <cx:pt idx="276">823</cx:pt>
          <cx:pt idx="277">823</cx:pt>
          <cx:pt idx="278">823</cx:pt>
          <cx:pt idx="279">823</cx:pt>
          <cx:pt idx="280">823</cx:pt>
          <cx:pt idx="281">823</cx:pt>
          <cx:pt idx="282">823</cx:pt>
          <cx:pt idx="283">823</cx:pt>
          <cx:pt idx="284">823</cx:pt>
          <cx:pt idx="285">823</cx:pt>
          <cx:pt idx="286">823</cx:pt>
          <cx:pt idx="287">823</cx:pt>
          <cx:pt idx="288">823</cx:pt>
          <cx:pt idx="289">823</cx:pt>
          <cx:pt idx="290">823</cx:pt>
          <cx:pt idx="291">823</cx:pt>
          <cx:pt idx="292">823</cx:pt>
          <cx:pt idx="293">823</cx:pt>
          <cx:pt idx="294">823</cx:pt>
          <cx:pt idx="295">823</cx:pt>
          <cx:pt idx="296">823</cx:pt>
          <cx:pt idx="297">823</cx:pt>
          <cx:pt idx="298">823</cx:pt>
          <cx:pt idx="299">823</cx:pt>
          <cx:pt idx="300">823</cx:pt>
          <cx:pt idx="301">823</cx:pt>
          <cx:pt idx="302">823</cx:pt>
          <cx:pt idx="303">823</cx:pt>
          <cx:pt idx="304">823</cx:pt>
          <cx:pt idx="305">823</cx:pt>
          <cx:pt idx="306">823</cx:pt>
          <cx:pt idx="307">823</cx:pt>
          <cx:pt idx="308">823</cx:pt>
          <cx:pt idx="309">823</cx:pt>
          <cx:pt idx="310">823</cx:pt>
          <cx:pt idx="311">823</cx:pt>
          <cx:pt idx="312">823</cx:pt>
          <cx:pt idx="313">823</cx:pt>
          <cx:pt idx="314">823</cx:pt>
          <cx:pt idx="315">823</cx:pt>
          <cx:pt idx="316">823</cx:pt>
          <cx:pt idx="317">823</cx:pt>
          <cx:pt idx="318">823</cx:pt>
          <cx:pt idx="319">823</cx:pt>
          <cx:pt idx="320">823</cx:pt>
          <cx:pt idx="321">823</cx:pt>
          <cx:pt idx="322">823</cx:pt>
          <cx:pt idx="323">823</cx:pt>
          <cx:pt idx="324">823</cx:pt>
          <cx:pt idx="325">823</cx:pt>
          <cx:pt idx="326">823</cx:pt>
          <cx:pt idx="327">823</cx:pt>
          <cx:pt idx="328">823</cx:pt>
          <cx:pt idx="329">823</cx:pt>
          <cx:pt idx="330">823</cx:pt>
          <cx:pt idx="331">823</cx:pt>
          <cx:pt idx="332">823</cx:pt>
          <cx:pt idx="333">823</cx:pt>
          <cx:pt idx="334">823</cx:pt>
          <cx:pt idx="335">823</cx:pt>
          <cx:pt idx="336">823</cx:pt>
          <cx:pt idx="337">823</cx:pt>
          <cx:pt idx="338">823</cx:pt>
          <cx:pt idx="339">823</cx:pt>
          <cx:pt idx="340">823</cx:pt>
          <cx:pt idx="341">823</cx:pt>
          <cx:pt idx="342">823</cx:pt>
          <cx:pt idx="343">823</cx:pt>
          <cx:pt idx="344">823</cx:pt>
          <cx:pt idx="345">823</cx:pt>
          <cx:pt idx="346">823</cx:pt>
          <cx:pt idx="347">823</cx:pt>
          <cx:pt idx="348">823</cx:pt>
          <cx:pt idx="349">823</cx:pt>
          <cx:pt idx="350">823</cx:pt>
          <cx:pt idx="351">823</cx:pt>
          <cx:pt idx="352">823</cx:pt>
          <cx:pt idx="353">823</cx:pt>
          <cx:pt idx="354">823</cx:pt>
          <cx:pt idx="355">823</cx:pt>
          <cx:pt idx="356">823</cx:pt>
          <cx:pt idx="357">823</cx:pt>
          <cx:pt idx="358">823</cx:pt>
          <cx:pt idx="359">823</cx:pt>
          <cx:pt idx="360">823</cx:pt>
          <cx:pt idx="361">823</cx:pt>
          <cx:pt idx="362">823</cx:pt>
          <cx:pt idx="363">823</cx:pt>
          <cx:pt idx="364">823</cx:pt>
          <cx:pt idx="365">823</cx:pt>
          <cx:pt idx="366">823</cx:pt>
          <cx:pt idx="367">823</cx:pt>
          <cx:pt idx="368">823</cx:pt>
          <cx:pt idx="369">823</cx:pt>
          <cx:pt idx="370">823</cx:pt>
          <cx:pt idx="371">823</cx:pt>
          <cx:pt idx="372">823</cx:pt>
          <cx:pt idx="373">823</cx:pt>
          <cx:pt idx="374">823</cx:pt>
          <cx:pt idx="375">823</cx:pt>
          <cx:pt idx="376">823</cx:pt>
          <cx:pt idx="377">823</cx:pt>
          <cx:pt idx="378">823</cx:pt>
          <cx:pt idx="379">823</cx:pt>
          <cx:pt idx="380">823</cx:pt>
          <cx:pt idx="381">823</cx:pt>
          <cx:pt idx="382">823</cx:pt>
          <cx:pt idx="383">823</cx:pt>
          <cx:pt idx="384">823</cx:pt>
          <cx:pt idx="385">823</cx:pt>
          <cx:pt idx="386">823</cx:pt>
          <cx:pt idx="387">823</cx:pt>
          <cx:pt idx="388">823</cx:pt>
          <cx:pt idx="389">823</cx:pt>
          <cx:pt idx="390">823</cx:pt>
          <cx:pt idx="391">823</cx:pt>
          <cx:pt idx="392">823</cx:pt>
          <cx:pt idx="393">823</cx:pt>
          <cx:pt idx="394">823</cx:pt>
          <cx:pt idx="395">823</cx:pt>
          <cx:pt idx="396">823</cx:pt>
          <cx:pt idx="397">823</cx:pt>
          <cx:pt idx="398">823</cx:pt>
          <cx:pt idx="399">823</cx:pt>
          <cx:pt idx="400">823</cx:pt>
          <cx:pt idx="401">823</cx:pt>
          <cx:pt idx="402">823</cx:pt>
          <cx:pt idx="403">823</cx:pt>
          <cx:pt idx="404">823</cx:pt>
          <cx:pt idx="405">823</cx:pt>
          <cx:pt idx="406">823</cx:pt>
          <cx:pt idx="407">823</cx:pt>
          <cx:pt idx="408">823</cx:pt>
          <cx:pt idx="409">823</cx:pt>
          <cx:pt idx="410">823</cx:pt>
          <cx:pt idx="411">823</cx:pt>
          <cx:pt idx="412">823</cx:pt>
          <cx:pt idx="413">823</cx:pt>
          <cx:pt idx="414">823</cx:pt>
          <cx:pt idx="415">823</cx:pt>
          <cx:pt idx="416">823</cx:pt>
          <cx:pt idx="417">823</cx:pt>
          <cx:pt idx="418">823</cx:pt>
          <cx:pt idx="419">823</cx:pt>
          <cx:pt idx="420">823</cx:pt>
          <cx:pt idx="421">823</cx:pt>
          <cx:pt idx="422">823</cx:pt>
          <cx:pt idx="423">823</cx:pt>
          <cx:pt idx="424">823</cx:pt>
          <cx:pt idx="425">823</cx:pt>
          <cx:pt idx="426">823</cx:pt>
          <cx:pt idx="427">823</cx:pt>
          <cx:pt idx="428">823</cx:pt>
          <cx:pt idx="429">823</cx:pt>
          <cx:pt idx="430">823</cx:pt>
          <cx:pt idx="431">823</cx:pt>
          <cx:pt idx="432">823</cx:pt>
          <cx:pt idx="433">823</cx:pt>
          <cx:pt idx="434">823</cx:pt>
          <cx:pt idx="435">823</cx:pt>
          <cx:pt idx="436">823</cx:pt>
          <cx:pt idx="437">823</cx:pt>
          <cx:pt idx="438">823</cx:pt>
          <cx:pt idx="439">823</cx:pt>
          <cx:pt idx="440">823</cx:pt>
          <cx:pt idx="441">823</cx:pt>
          <cx:pt idx="442">823</cx:pt>
          <cx:pt idx="443">823</cx:pt>
          <cx:pt idx="444">823</cx:pt>
          <cx:pt idx="445">823</cx:pt>
          <cx:pt idx="446">823</cx:pt>
          <cx:pt idx="447">823</cx:pt>
          <cx:pt idx="448">823</cx:pt>
          <cx:pt idx="449">823</cx:pt>
          <cx:pt idx="450">823</cx:pt>
          <cx:pt idx="451">823</cx:pt>
          <cx:pt idx="452">823</cx:pt>
          <cx:pt idx="453">823</cx:pt>
          <cx:pt idx="454">823</cx:pt>
          <cx:pt idx="455">823</cx:pt>
          <cx:pt idx="456">823</cx:pt>
          <cx:pt idx="457">823</cx:pt>
          <cx:pt idx="458">823</cx:pt>
          <cx:pt idx="459">823</cx:pt>
          <cx:pt idx="460">823</cx:pt>
          <cx:pt idx="461">823</cx:pt>
          <cx:pt idx="462">823</cx:pt>
          <cx:pt idx="463">823</cx:pt>
          <cx:pt idx="464">823</cx:pt>
          <cx:pt idx="465">823</cx:pt>
          <cx:pt idx="466">823</cx:pt>
          <cx:pt idx="467">823</cx:pt>
          <cx:pt idx="468">823</cx:pt>
          <cx:pt idx="469">823</cx:pt>
          <cx:pt idx="470">823</cx:pt>
          <cx:pt idx="471">823</cx:pt>
          <cx:pt idx="472">823</cx:pt>
          <cx:pt idx="473">823</cx:pt>
          <cx:pt idx="474">823</cx:pt>
          <cx:pt idx="475">823</cx:pt>
          <cx:pt idx="476">823</cx:pt>
          <cx:pt idx="477">823</cx:pt>
          <cx:pt idx="478">823</cx:pt>
          <cx:pt idx="479">823</cx:pt>
          <cx:pt idx="480">823</cx:pt>
          <cx:pt idx="481">823</cx:pt>
          <cx:pt idx="482">823</cx:pt>
          <cx:pt idx="483">823</cx:pt>
          <cx:pt idx="484">823</cx:pt>
          <cx:pt idx="485">823</cx:pt>
          <cx:pt idx="486">823</cx:pt>
          <cx:pt idx="487">823</cx:pt>
          <cx:pt idx="488">823</cx:pt>
          <cx:pt idx="489">823</cx:pt>
          <cx:pt idx="490">823</cx:pt>
          <cx:pt idx="491">823</cx:pt>
          <cx:pt idx="492">823</cx:pt>
          <cx:pt idx="493">823</cx:pt>
          <cx:pt idx="494">823</cx:pt>
          <cx:pt idx="495">823</cx:pt>
          <cx:pt idx="496">823</cx:pt>
          <cx:pt idx="497">823</cx:pt>
          <cx:pt idx="498">823</cx:pt>
          <cx:pt idx="499">823</cx:pt>
          <cx:pt idx="500">823</cx:pt>
          <cx:pt idx="501">823</cx:pt>
          <cx:pt idx="502">823</cx:pt>
          <cx:pt idx="503">823</cx:pt>
          <cx:pt idx="504">823</cx:pt>
          <cx:pt idx="505">823</cx:pt>
          <cx:pt idx="506">823</cx:pt>
          <cx:pt idx="507">823</cx:pt>
          <cx:pt idx="508">823</cx:pt>
          <cx:pt idx="509">823</cx:pt>
          <cx:pt idx="510">823</cx:pt>
          <cx:pt idx="511">823</cx:pt>
          <cx:pt idx="512">823</cx:pt>
          <cx:pt idx="513">823</cx:pt>
          <cx:pt idx="514">823</cx:pt>
          <cx:pt idx="515">823</cx:pt>
          <cx:pt idx="516">823</cx:pt>
          <cx:pt idx="517">823</cx:pt>
          <cx:pt idx="518">823</cx:pt>
          <cx:pt idx="519">823</cx:pt>
          <cx:pt idx="520">823</cx:pt>
          <cx:pt idx="521">823</cx:pt>
          <cx:pt idx="522">823</cx:pt>
          <cx:pt idx="523">823</cx:pt>
          <cx:pt idx="524">823</cx:pt>
          <cx:pt idx="525">823</cx:pt>
          <cx:pt idx="526">823</cx:pt>
          <cx:pt idx="527">823</cx:pt>
          <cx:pt idx="528">823</cx:pt>
          <cx:pt idx="529">823</cx:pt>
          <cx:pt idx="530">823</cx:pt>
          <cx:pt idx="531">823</cx:pt>
          <cx:pt idx="532">823</cx:pt>
          <cx:pt idx="533">823</cx:pt>
          <cx:pt idx="534">823</cx:pt>
          <cx:pt idx="535">823</cx:pt>
          <cx:pt idx="536">823</cx:pt>
          <cx:pt idx="537">823</cx:pt>
          <cx:pt idx="538">823</cx:pt>
          <cx:pt idx="539">823</cx:pt>
          <cx:pt idx="540">823</cx:pt>
          <cx:pt idx="541">823</cx:pt>
          <cx:pt idx="542">823</cx:pt>
          <cx:pt idx="543">823</cx:pt>
          <cx:pt idx="544">823</cx:pt>
          <cx:pt idx="545">823</cx:pt>
          <cx:pt idx="546">823</cx:pt>
          <cx:pt idx="547">823</cx:pt>
          <cx:pt idx="548">823</cx:pt>
          <cx:pt idx="549">823</cx:pt>
          <cx:pt idx="550">823</cx:pt>
          <cx:pt idx="551">823</cx:pt>
          <cx:pt idx="552">823</cx:pt>
          <cx:pt idx="553">823</cx:pt>
          <cx:pt idx="554">823</cx:pt>
          <cx:pt idx="555">823</cx:pt>
          <cx:pt idx="556">823</cx:pt>
          <cx:pt idx="557">823</cx:pt>
          <cx:pt idx="558">823</cx:pt>
          <cx:pt idx="559">823</cx:pt>
          <cx:pt idx="560">823</cx:pt>
          <cx:pt idx="561">823</cx:pt>
          <cx:pt idx="562">823</cx:pt>
          <cx:pt idx="563">823</cx:pt>
          <cx:pt idx="564">823</cx:pt>
          <cx:pt idx="565">823</cx:pt>
          <cx:pt idx="566">823</cx:pt>
          <cx:pt idx="567">823</cx:pt>
          <cx:pt idx="568">823</cx:pt>
          <cx:pt idx="569">823</cx:pt>
          <cx:pt idx="570">823</cx:pt>
          <cx:pt idx="571">823</cx:pt>
          <cx:pt idx="572">823</cx:pt>
          <cx:pt idx="573">823</cx:pt>
          <cx:pt idx="574">823</cx:pt>
          <cx:pt idx="575">823</cx:pt>
          <cx:pt idx="576">823</cx:pt>
          <cx:pt idx="577">823</cx:pt>
          <cx:pt idx="578">823</cx:pt>
          <cx:pt idx="579">823</cx:pt>
          <cx:pt idx="580">823</cx:pt>
          <cx:pt idx="581">823</cx:pt>
          <cx:pt idx="582">823</cx:pt>
          <cx:pt idx="583">823</cx:pt>
          <cx:pt idx="584">823</cx:pt>
          <cx:pt idx="585">823</cx:pt>
          <cx:pt idx="586">823</cx:pt>
          <cx:pt idx="587">823</cx:pt>
          <cx:pt idx="588">823</cx:pt>
          <cx:pt idx="589">823</cx:pt>
          <cx:pt idx="590">823</cx:pt>
          <cx:pt idx="591">823</cx:pt>
          <cx:pt idx="592">823</cx:pt>
          <cx:pt idx="593">823</cx:pt>
          <cx:pt idx="594">823</cx:pt>
          <cx:pt idx="595">823</cx:pt>
          <cx:pt idx="596">823</cx:pt>
          <cx:pt idx="597">823</cx:pt>
          <cx:pt idx="598">823</cx:pt>
          <cx:pt idx="599">823</cx:pt>
          <cx:pt idx="600">823</cx:pt>
          <cx:pt idx="601">823</cx:pt>
          <cx:pt idx="602">823</cx:pt>
          <cx:pt idx="603">823</cx:pt>
          <cx:pt idx="604">823</cx:pt>
          <cx:pt idx="605">823</cx:pt>
          <cx:pt idx="606">823</cx:pt>
          <cx:pt idx="607">823</cx:pt>
          <cx:pt idx="608">823</cx:pt>
          <cx:pt idx="609">823</cx:pt>
          <cx:pt idx="610">823</cx:pt>
          <cx:pt idx="611">823</cx:pt>
          <cx:pt idx="612">823</cx:pt>
          <cx:pt idx="613">823</cx:pt>
          <cx:pt idx="614">823</cx:pt>
          <cx:pt idx="615">823</cx:pt>
          <cx:pt idx="616">823</cx:pt>
          <cx:pt idx="617">823</cx:pt>
          <cx:pt idx="618">823</cx:pt>
          <cx:pt idx="619">823</cx:pt>
          <cx:pt idx="620">823</cx:pt>
          <cx:pt idx="621">823</cx:pt>
          <cx:pt idx="622">823</cx:pt>
          <cx:pt idx="623">823</cx:pt>
          <cx:pt idx="624">823</cx:pt>
          <cx:pt idx="625">823</cx:pt>
          <cx:pt idx="626">823</cx:pt>
          <cx:pt idx="627">823</cx:pt>
          <cx:pt idx="628">823</cx:pt>
          <cx:pt idx="629">823</cx:pt>
          <cx:pt idx="630">823</cx:pt>
          <cx:pt idx="631">823</cx:pt>
          <cx:pt idx="632">823</cx:pt>
          <cx:pt idx="633">823</cx:pt>
          <cx:pt idx="634">823</cx:pt>
          <cx:pt idx="635">823</cx:pt>
          <cx:pt idx="636">823</cx:pt>
          <cx:pt idx="637">823</cx:pt>
          <cx:pt idx="638">823</cx:pt>
          <cx:pt idx="639">823</cx:pt>
          <cx:pt idx="640">823</cx:pt>
          <cx:pt idx="641">823</cx:pt>
          <cx:pt idx="642">823</cx:pt>
          <cx:pt idx="643">823</cx:pt>
          <cx:pt idx="644">823</cx:pt>
          <cx:pt idx="645">823</cx:pt>
          <cx:pt idx="646">823</cx:pt>
          <cx:pt idx="647">823</cx:pt>
          <cx:pt idx="648">823</cx:pt>
          <cx:pt idx="649">823</cx:pt>
          <cx:pt idx="650">823</cx:pt>
          <cx:pt idx="651">823</cx:pt>
          <cx:pt idx="652">823</cx:pt>
          <cx:pt idx="653">823</cx:pt>
          <cx:pt idx="654">823</cx:pt>
          <cx:pt idx="655">823</cx:pt>
          <cx:pt idx="656">823</cx:pt>
          <cx:pt idx="657">823</cx:pt>
          <cx:pt idx="658">823</cx:pt>
          <cx:pt idx="659">823</cx:pt>
          <cx:pt idx="660">823</cx:pt>
          <cx:pt idx="661">823</cx:pt>
          <cx:pt idx="662">823</cx:pt>
          <cx:pt idx="663">823</cx:pt>
          <cx:pt idx="664">823</cx:pt>
          <cx:pt idx="665">823</cx:pt>
          <cx:pt idx="666">823</cx:pt>
          <cx:pt idx="667">823</cx:pt>
          <cx:pt idx="668">823</cx:pt>
          <cx:pt idx="669">823</cx:pt>
          <cx:pt idx="670">823</cx:pt>
          <cx:pt idx="671">823</cx:pt>
          <cx:pt idx="672">823</cx:pt>
          <cx:pt idx="673">823</cx:pt>
          <cx:pt idx="674">823</cx:pt>
          <cx:pt idx="675">823</cx:pt>
          <cx:pt idx="676">823</cx:pt>
          <cx:pt idx="677">823</cx:pt>
          <cx:pt idx="678">823</cx:pt>
          <cx:pt idx="679">823</cx:pt>
          <cx:pt idx="680">823</cx:pt>
          <cx:pt idx="681">823</cx:pt>
          <cx:pt idx="682">823</cx:pt>
          <cx:pt idx="683">823</cx:pt>
          <cx:pt idx="684">823</cx:pt>
          <cx:pt idx="685">823</cx:pt>
          <cx:pt idx="686">823</cx:pt>
          <cx:pt idx="687">823</cx:pt>
          <cx:pt idx="688">823</cx:pt>
          <cx:pt idx="689">823</cx:pt>
          <cx:pt idx="690">823</cx:pt>
          <cx:pt idx="691">823</cx:pt>
          <cx:pt idx="692">823</cx:pt>
          <cx:pt idx="693">823</cx:pt>
          <cx:pt idx="694">823</cx:pt>
          <cx:pt idx="695">823</cx:pt>
          <cx:pt idx="696">823</cx:pt>
          <cx:pt idx="697">823</cx:pt>
          <cx:pt idx="698">823</cx:pt>
          <cx:pt idx="699">823</cx:pt>
          <cx:pt idx="700">823</cx:pt>
          <cx:pt idx="701">823</cx:pt>
          <cx:pt idx="702">823</cx:pt>
          <cx:pt idx="703">823</cx:pt>
          <cx:pt idx="704">823</cx:pt>
          <cx:pt idx="705">823</cx:pt>
          <cx:pt idx="706">823</cx:pt>
          <cx:pt idx="707">823</cx:pt>
          <cx:pt idx="708">823</cx:pt>
          <cx:pt idx="709">823</cx:pt>
          <cx:pt idx="710">823</cx:pt>
          <cx:pt idx="711">823</cx:pt>
          <cx:pt idx="712">823</cx:pt>
          <cx:pt idx="713">823</cx:pt>
          <cx:pt idx="714">823</cx:pt>
          <cx:pt idx="715">823</cx:pt>
          <cx:pt idx="716">823</cx:pt>
          <cx:pt idx="717">823</cx:pt>
          <cx:pt idx="718">823</cx:pt>
          <cx:pt idx="719">823</cx:pt>
          <cx:pt idx="720">823</cx:pt>
          <cx:pt idx="721">823</cx:pt>
          <cx:pt idx="722">823</cx:pt>
          <cx:pt idx="723">823</cx:pt>
          <cx:pt idx="724">823</cx:pt>
          <cx:pt idx="725">823</cx:pt>
          <cx:pt idx="726">823</cx:pt>
          <cx:pt idx="727">823</cx:pt>
          <cx:pt idx="728">823</cx:pt>
          <cx:pt idx="729">823</cx:pt>
          <cx:pt idx="730">823</cx:pt>
          <cx:pt idx="731">823</cx:pt>
          <cx:pt idx="732">823</cx:pt>
          <cx:pt idx="733">823</cx:pt>
          <cx:pt idx="734">823</cx:pt>
          <cx:pt idx="735">823</cx:pt>
          <cx:pt idx="736">823</cx:pt>
          <cx:pt idx="737">823</cx:pt>
          <cx:pt idx="738">823</cx:pt>
          <cx:pt idx="739">823</cx:pt>
          <cx:pt idx="740">823</cx:pt>
          <cx:pt idx="741">823</cx:pt>
          <cx:pt idx="742">823</cx:pt>
          <cx:pt idx="743">823</cx:pt>
          <cx:pt idx="744">823</cx:pt>
          <cx:pt idx="745">823</cx:pt>
          <cx:pt idx="746">823</cx:pt>
          <cx:pt idx="747">823</cx:pt>
          <cx:pt idx="748">823</cx:pt>
          <cx:pt idx="749">823</cx:pt>
          <cx:pt idx="750">823</cx:pt>
          <cx:pt idx="751">823</cx:pt>
          <cx:pt idx="752">823</cx:pt>
          <cx:pt idx="753">823</cx:pt>
          <cx:pt idx="754">823</cx:pt>
          <cx:pt idx="755">823</cx:pt>
          <cx:pt idx="756">823</cx:pt>
          <cx:pt idx="757">823</cx:pt>
          <cx:pt idx="758">823</cx:pt>
          <cx:pt idx="759">823</cx:pt>
          <cx:pt idx="760">823</cx:pt>
          <cx:pt idx="761">823</cx:pt>
          <cx:pt idx="762">823</cx:pt>
          <cx:pt idx="763">823</cx:pt>
          <cx:pt idx="764">823</cx:pt>
          <cx:pt idx="765">823</cx:pt>
          <cx:pt idx="766">823</cx:pt>
          <cx:pt idx="767">823</cx:pt>
          <cx:pt idx="768">823</cx:pt>
          <cx:pt idx="769">823</cx:pt>
          <cx:pt idx="770">823</cx:pt>
          <cx:pt idx="771">823</cx:pt>
          <cx:pt idx="772">823</cx:pt>
          <cx:pt idx="773">823</cx:pt>
          <cx:pt idx="774">823</cx:pt>
          <cx:pt idx="775">823</cx:pt>
          <cx:pt idx="776">823</cx:pt>
          <cx:pt idx="777">823</cx:pt>
          <cx:pt idx="778">823</cx:pt>
          <cx:pt idx="779">823</cx:pt>
          <cx:pt idx="780">823</cx:pt>
          <cx:pt idx="781">823</cx:pt>
          <cx:pt idx="782">823</cx:pt>
          <cx:pt idx="783">823</cx:pt>
          <cx:pt idx="784">823</cx:pt>
          <cx:pt idx="785">823</cx:pt>
          <cx:pt idx="786">823</cx:pt>
          <cx:pt idx="787">823</cx:pt>
          <cx:pt idx="788">823</cx:pt>
          <cx:pt idx="789">823</cx:pt>
          <cx:pt idx="790">823</cx:pt>
          <cx:pt idx="791">823</cx:pt>
          <cx:pt idx="792">823</cx:pt>
          <cx:pt idx="793">823</cx:pt>
          <cx:pt idx="794">823</cx:pt>
          <cx:pt idx="795">823</cx:pt>
          <cx:pt idx="796">823</cx:pt>
          <cx:pt idx="797">823</cx:pt>
          <cx:pt idx="798">823</cx:pt>
          <cx:pt idx="799">823</cx:pt>
          <cx:pt idx="800">823</cx:pt>
          <cx:pt idx="801">823</cx:pt>
          <cx:pt idx="802">823</cx:pt>
          <cx:pt idx="803">823</cx:pt>
          <cx:pt idx="804">823</cx:pt>
          <cx:pt idx="805">823</cx:pt>
          <cx:pt idx="806">823</cx:pt>
          <cx:pt idx="807">823</cx:pt>
          <cx:pt idx="808">823</cx:pt>
          <cx:pt idx="809">823</cx:pt>
          <cx:pt idx="810">823</cx:pt>
          <cx:pt idx="811">823</cx:pt>
          <cx:pt idx="812">823</cx:pt>
          <cx:pt idx="813">823</cx:pt>
          <cx:pt idx="814">823</cx:pt>
          <cx:pt idx="815">823</cx:pt>
          <cx:pt idx="816">823</cx:pt>
          <cx:pt idx="817">823</cx:pt>
          <cx:pt idx="818">823</cx:pt>
          <cx:pt idx="819">823</cx:pt>
          <cx:pt idx="820">823</cx:pt>
          <cx:pt idx="821">823</cx:pt>
          <cx:pt idx="822">823</cx:pt>
          <cx:pt idx="823">823</cx:pt>
          <cx:pt idx="824">823</cx:pt>
          <cx:pt idx="825">823</cx:pt>
          <cx:pt idx="826">823</cx:pt>
          <cx:pt idx="827">823</cx:pt>
          <cx:pt idx="828">823</cx:pt>
          <cx:pt idx="829">823</cx:pt>
          <cx:pt idx="830">823</cx:pt>
          <cx:pt idx="831">823</cx:pt>
          <cx:pt idx="832">823</cx:pt>
          <cx:pt idx="833">823</cx:pt>
          <cx:pt idx="834">823</cx:pt>
          <cx:pt idx="835">823</cx:pt>
          <cx:pt idx="836">823</cx:pt>
          <cx:pt idx="837">823</cx:pt>
          <cx:pt idx="838">823</cx:pt>
          <cx:pt idx="839">823</cx:pt>
          <cx:pt idx="840">823</cx:pt>
          <cx:pt idx="841">823</cx:pt>
          <cx:pt idx="842">823</cx:pt>
          <cx:pt idx="843">823</cx:pt>
          <cx:pt idx="844">823</cx:pt>
          <cx:pt idx="845">823</cx:pt>
          <cx:pt idx="846">823</cx:pt>
          <cx:pt idx="847">823</cx:pt>
          <cx:pt idx="848">823</cx:pt>
          <cx:pt idx="849">823</cx:pt>
          <cx:pt idx="850">823</cx:pt>
          <cx:pt idx="851">823</cx:pt>
          <cx:pt idx="852">823</cx:pt>
          <cx:pt idx="853">823</cx:pt>
          <cx:pt idx="854">823</cx:pt>
          <cx:pt idx="855">823</cx:pt>
          <cx:pt idx="856">823</cx:pt>
          <cx:pt idx="857">823</cx:pt>
          <cx:pt idx="858">823</cx:pt>
          <cx:pt idx="859">823</cx:pt>
          <cx:pt idx="860">823</cx:pt>
          <cx:pt idx="861">823</cx:pt>
          <cx:pt idx="862">823</cx:pt>
          <cx:pt idx="863">823</cx:pt>
          <cx:pt idx="864">823</cx:pt>
          <cx:pt idx="865">823</cx:pt>
          <cx:pt idx="866">823</cx:pt>
          <cx:pt idx="867">823</cx:pt>
          <cx:pt idx="868">823</cx:pt>
          <cx:pt idx="869">823</cx:pt>
          <cx:pt idx="870">823</cx:pt>
          <cx:pt idx="871">823</cx:pt>
          <cx:pt idx="872">823</cx:pt>
          <cx:pt idx="873">823</cx:pt>
          <cx:pt idx="874">823</cx:pt>
          <cx:pt idx="875">823</cx:pt>
          <cx:pt idx="876">823</cx:pt>
          <cx:pt idx="877">823</cx:pt>
          <cx:pt idx="878">823</cx:pt>
          <cx:pt idx="879">823</cx:pt>
          <cx:pt idx="880">823</cx:pt>
          <cx:pt idx="881">823</cx:pt>
          <cx:pt idx="882">823</cx:pt>
          <cx:pt idx="883">823</cx:pt>
          <cx:pt idx="884">823</cx:pt>
          <cx:pt idx="885">823</cx:pt>
          <cx:pt idx="886">823</cx:pt>
          <cx:pt idx="887">823</cx:pt>
          <cx:pt idx="888">823</cx:pt>
          <cx:pt idx="889">823</cx:pt>
          <cx:pt idx="890">823</cx:pt>
          <cx:pt idx="891">823</cx:pt>
          <cx:pt idx="892">823</cx:pt>
          <cx:pt idx="893">823</cx:pt>
          <cx:pt idx="894">823</cx:pt>
          <cx:pt idx="895">823</cx:pt>
          <cx:pt idx="896">823</cx:pt>
          <cx:pt idx="897">823</cx:pt>
          <cx:pt idx="898">823</cx:pt>
          <cx:pt idx="899">823</cx:pt>
          <cx:pt idx="900">823</cx:pt>
          <cx:pt idx="901">823</cx:pt>
          <cx:pt idx="902">823</cx:pt>
          <cx:pt idx="903">823</cx:pt>
          <cx:pt idx="904">823</cx:pt>
          <cx:pt idx="905">823</cx:pt>
          <cx:pt idx="906">823</cx:pt>
          <cx:pt idx="907">823</cx:pt>
          <cx:pt idx="908">823</cx:pt>
          <cx:pt idx="909">823</cx:pt>
          <cx:pt idx="910">823</cx:pt>
          <cx:pt idx="911">823</cx:pt>
          <cx:pt idx="912">823</cx:pt>
          <cx:pt idx="913">823</cx:pt>
          <cx:pt idx="914">823</cx:pt>
          <cx:pt idx="915">823</cx:pt>
          <cx:pt idx="916">823</cx:pt>
          <cx:pt idx="917">823</cx:pt>
          <cx:pt idx="918">823</cx:pt>
          <cx:pt idx="919">823</cx:pt>
          <cx:pt idx="920">823</cx:pt>
          <cx:pt idx="921">823</cx:pt>
          <cx:pt idx="922">823</cx:pt>
          <cx:pt idx="923">823</cx:pt>
          <cx:pt idx="924">823</cx:pt>
          <cx:pt idx="925">823</cx:pt>
          <cx:pt idx="926">823</cx:pt>
          <cx:pt idx="927">823</cx:pt>
          <cx:pt idx="928">823</cx:pt>
          <cx:pt idx="929">823</cx:pt>
          <cx:pt idx="930">823</cx:pt>
          <cx:pt idx="931">823</cx:pt>
          <cx:pt idx="932">823</cx:pt>
          <cx:pt idx="933">823</cx:pt>
          <cx:pt idx="934">823</cx:pt>
          <cx:pt idx="935">823</cx:pt>
          <cx:pt idx="936">823</cx:pt>
          <cx:pt idx="937">823</cx:pt>
          <cx:pt idx="938">823</cx:pt>
          <cx:pt idx="939">823</cx:pt>
          <cx:pt idx="940">823</cx:pt>
          <cx:pt idx="941">823</cx:pt>
          <cx:pt idx="942">823</cx:pt>
          <cx:pt idx="943">823</cx:pt>
          <cx:pt idx="944">823</cx:pt>
          <cx:pt idx="945">823</cx:pt>
          <cx:pt idx="946">823</cx:pt>
          <cx:pt idx="947">823</cx:pt>
          <cx:pt idx="948">823</cx:pt>
          <cx:pt idx="949">823</cx:pt>
          <cx:pt idx="950">823</cx:pt>
          <cx:pt idx="951">823</cx:pt>
          <cx:pt idx="952">823</cx:pt>
          <cx:pt idx="953">823</cx:pt>
          <cx:pt idx="954">823</cx:pt>
          <cx:pt idx="955">823</cx:pt>
          <cx:pt idx="956">823</cx:pt>
          <cx:pt idx="957">823</cx:pt>
          <cx:pt idx="958">823</cx:pt>
          <cx:pt idx="959">823</cx:pt>
          <cx:pt idx="960">823</cx:pt>
          <cx:pt idx="961">823</cx:pt>
          <cx:pt idx="962">823</cx:pt>
          <cx:pt idx="963">823</cx:pt>
          <cx:pt idx="964">823</cx:pt>
          <cx:pt idx="965">823</cx:pt>
          <cx:pt idx="966">823</cx:pt>
          <cx:pt idx="967">823</cx:pt>
          <cx:pt idx="968">823</cx:pt>
          <cx:pt idx="969">823</cx:pt>
          <cx:pt idx="970">823</cx:pt>
          <cx:pt idx="971">823</cx:pt>
          <cx:pt idx="972">823</cx:pt>
          <cx:pt idx="973">823</cx:pt>
          <cx:pt idx="974">823</cx:pt>
          <cx:pt idx="975">823</cx:pt>
          <cx:pt idx="976">823</cx:pt>
          <cx:pt idx="977">823</cx:pt>
          <cx:pt idx="978">823</cx:pt>
          <cx:pt idx="979">823</cx:pt>
          <cx:pt idx="980">823</cx:pt>
          <cx:pt idx="981">823</cx:pt>
          <cx:pt idx="982">823</cx:pt>
          <cx:pt idx="983">823</cx:pt>
          <cx:pt idx="984">823</cx:pt>
          <cx:pt idx="985">823</cx:pt>
          <cx:pt idx="986">823</cx:pt>
          <cx:pt idx="987">823</cx:pt>
          <cx:pt idx="988">823</cx:pt>
          <cx:pt idx="989">823</cx:pt>
          <cx:pt idx="990">823</cx:pt>
          <cx:pt idx="991">823</cx:pt>
          <cx:pt idx="992">823</cx:pt>
          <cx:pt idx="993">823</cx:pt>
          <cx:pt idx="994">823</cx:pt>
          <cx:pt idx="995">823</cx:pt>
          <cx:pt idx="996">823</cx:pt>
          <cx:pt idx="997">823</cx:pt>
          <cx:pt idx="998">823</cx:pt>
          <cx:pt idx="999">823</cx:pt>
          <cx:pt idx="1000">823</cx:pt>
          <cx:pt idx="1001">823</cx:pt>
          <cx:pt idx="1002">823</cx:pt>
          <cx:pt idx="1003">823</cx:pt>
          <cx:pt idx="1004">823</cx:pt>
          <cx:pt idx="1005">823</cx:pt>
          <cx:pt idx="1006">823</cx:pt>
          <cx:pt idx="1007">823</cx:pt>
          <cx:pt idx="1008">823</cx:pt>
          <cx:pt idx="1009">823</cx:pt>
          <cx:pt idx="1010">823</cx:pt>
          <cx:pt idx="1011">823</cx:pt>
          <cx:pt idx="1012">823</cx:pt>
          <cx:pt idx="1013">823</cx:pt>
          <cx:pt idx="1014">823</cx:pt>
          <cx:pt idx="1015">823</cx:pt>
          <cx:pt idx="1016">823</cx:pt>
          <cx:pt idx="1017">823</cx:pt>
          <cx:pt idx="1018">823</cx:pt>
          <cx:pt idx="1019">823</cx:pt>
          <cx:pt idx="1020">823</cx:pt>
          <cx:pt idx="1021">823</cx:pt>
          <cx:pt idx="1022">823</cx:pt>
          <cx:pt idx="1023">823</cx:pt>
          <cx:pt idx="1024">823</cx:pt>
          <cx:pt idx="1025">823</cx:pt>
          <cx:pt idx="1026">823</cx:pt>
          <cx:pt idx="1027">823</cx:pt>
          <cx:pt idx="1028">823</cx:pt>
          <cx:pt idx="1029">823</cx:pt>
          <cx:pt idx="1030">823</cx:pt>
          <cx:pt idx="1031">823</cx:pt>
          <cx:pt idx="1032">823</cx:pt>
          <cx:pt idx="1033">823</cx:pt>
          <cx:pt idx="1034">823</cx:pt>
          <cx:pt idx="1035">823</cx:pt>
          <cx:pt idx="1036">823</cx:pt>
          <cx:pt idx="1037">823</cx:pt>
          <cx:pt idx="1038">823</cx:pt>
          <cx:pt idx="1039">823</cx:pt>
          <cx:pt idx="1040">823</cx:pt>
          <cx:pt idx="1041">823</cx:pt>
          <cx:pt idx="1042">823</cx:pt>
          <cx:pt idx="1043">823</cx:pt>
          <cx:pt idx="1044">823</cx:pt>
          <cx:pt idx="1045">823</cx:pt>
          <cx:pt idx="1046">823</cx:pt>
          <cx:pt idx="1047">823</cx:pt>
          <cx:pt idx="1048">823</cx:pt>
          <cx:pt idx="1049">823</cx:pt>
          <cx:pt idx="1050">823</cx:pt>
          <cx:pt idx="1051">823</cx:pt>
          <cx:pt idx="1052">823</cx:pt>
          <cx:pt idx="1053">823</cx:pt>
          <cx:pt idx="1054">823</cx:pt>
          <cx:pt idx="1055">823</cx:pt>
          <cx:pt idx="1056">823</cx:pt>
          <cx:pt idx="1057">823</cx:pt>
          <cx:pt idx="1058">823</cx:pt>
          <cx:pt idx="1059">823</cx:pt>
          <cx:pt idx="1060">823</cx:pt>
          <cx:pt idx="1061">823</cx:pt>
          <cx:pt idx="1062">823</cx:pt>
          <cx:pt idx="1063">823</cx:pt>
          <cx:pt idx="1064">823</cx:pt>
          <cx:pt idx="1065">823</cx:pt>
          <cx:pt idx="1066">823</cx:pt>
          <cx:pt idx="1067">823</cx:pt>
          <cx:pt idx="1068">823</cx:pt>
          <cx:pt idx="1069">823</cx:pt>
          <cx:pt idx="1070">823</cx:pt>
          <cx:pt idx="1071">823</cx:pt>
          <cx:pt idx="1072">823</cx:pt>
          <cx:pt idx="1073">823</cx:pt>
          <cx:pt idx="1074">823</cx:pt>
          <cx:pt idx="1075">823</cx:pt>
          <cx:pt idx="1076">823</cx:pt>
          <cx:pt idx="1077">823</cx:pt>
          <cx:pt idx="1078">823</cx:pt>
          <cx:pt idx="1079">823</cx:pt>
          <cx:pt idx="1080">823</cx:pt>
          <cx:pt idx="1081">823</cx:pt>
          <cx:pt idx="1082">823</cx:pt>
          <cx:pt idx="1083">823</cx:pt>
          <cx:pt idx="1084">823</cx:pt>
          <cx:pt idx="1085">823</cx:pt>
          <cx:pt idx="1086">823</cx:pt>
          <cx:pt idx="1087">823</cx:pt>
          <cx:pt idx="1088">823</cx:pt>
          <cx:pt idx="1089">823</cx:pt>
          <cx:pt idx="1090">823</cx:pt>
          <cx:pt idx="1091">823</cx:pt>
          <cx:pt idx="1092">823</cx:pt>
          <cx:pt idx="1093">823</cx:pt>
          <cx:pt idx="1094">823</cx:pt>
          <cx:pt idx="1095">823</cx:pt>
          <cx:pt idx="1096">823</cx:pt>
          <cx:pt idx="1097">823</cx:pt>
          <cx:pt idx="1098">823</cx:pt>
          <cx:pt idx="1099">823</cx:pt>
          <cx:pt idx="1100">823</cx:pt>
          <cx:pt idx="1101">823</cx:pt>
          <cx:pt idx="1102">823</cx:pt>
          <cx:pt idx="1103">823</cx:pt>
          <cx:pt idx="1104">823</cx:pt>
          <cx:pt idx="1105">823</cx:pt>
          <cx:pt idx="1106">823</cx:pt>
          <cx:pt idx="1107">823</cx:pt>
          <cx:pt idx="1108">823</cx:pt>
          <cx:pt idx="1109">823</cx:pt>
          <cx:pt idx="1110">823</cx:pt>
          <cx:pt idx="1111">823</cx:pt>
          <cx:pt idx="1112">823</cx:pt>
          <cx:pt idx="1113">823</cx:pt>
          <cx:pt idx="1114">823</cx:pt>
          <cx:pt idx="1115">823</cx:pt>
          <cx:pt idx="1116">823</cx:pt>
          <cx:pt idx="1117">823</cx:pt>
          <cx:pt idx="1118">823</cx:pt>
          <cx:pt idx="1119">823</cx:pt>
          <cx:pt idx="1120">823</cx:pt>
          <cx:pt idx="1121">823</cx:pt>
          <cx:pt idx="1122">823</cx:pt>
          <cx:pt idx="1123">823</cx:pt>
          <cx:pt idx="1124">823</cx:pt>
          <cx:pt idx="1125">823</cx:pt>
          <cx:pt idx="1126">823</cx:pt>
          <cx:pt idx="1127">823</cx:pt>
          <cx:pt idx="1128">823</cx:pt>
          <cx:pt idx="1129">823</cx:pt>
          <cx:pt idx="1130">823</cx:pt>
          <cx:pt idx="1131">823</cx:pt>
          <cx:pt idx="1132">823</cx:pt>
          <cx:pt idx="1133">823</cx:pt>
          <cx:pt idx="1134">823</cx:pt>
          <cx:pt idx="1135">823</cx:pt>
          <cx:pt idx="1136">823</cx:pt>
          <cx:pt idx="1137">823</cx:pt>
          <cx:pt idx="1138">823</cx:pt>
          <cx:pt idx="1139">823</cx:pt>
          <cx:pt idx="1140">823</cx:pt>
          <cx:pt idx="1141">823</cx:pt>
          <cx:pt idx="1142">823</cx:pt>
          <cx:pt idx="1143">823</cx:pt>
          <cx:pt idx="1144">823</cx:pt>
          <cx:pt idx="1145">823</cx:pt>
          <cx:pt idx="1146">823</cx:pt>
          <cx:pt idx="1147">823</cx:pt>
          <cx:pt idx="1148">823</cx:pt>
          <cx:pt idx="1149">823</cx:pt>
          <cx:pt idx="1150">823</cx:pt>
          <cx:pt idx="1151">823</cx:pt>
          <cx:pt idx="1152">823</cx:pt>
          <cx:pt idx="1153">823</cx:pt>
          <cx:pt idx="1154">823</cx:pt>
          <cx:pt idx="1155">823</cx:pt>
          <cx:pt idx="1156">823</cx:pt>
          <cx:pt idx="1157">823</cx:pt>
          <cx:pt idx="1158">823</cx:pt>
          <cx:pt idx="1159">823</cx:pt>
          <cx:pt idx="1160">823</cx:pt>
          <cx:pt idx="1161">823</cx:pt>
          <cx:pt idx="1162">823</cx:pt>
          <cx:pt idx="1163">823</cx:pt>
          <cx:pt idx="1164">823</cx:pt>
          <cx:pt idx="1165">823</cx:pt>
          <cx:pt idx="1166">823</cx:pt>
          <cx:pt idx="1167">823</cx:pt>
          <cx:pt idx="1168">823</cx:pt>
          <cx:pt idx="1169">823</cx:pt>
          <cx:pt idx="1170">823</cx:pt>
          <cx:pt idx="1171">823</cx:pt>
          <cx:pt idx="1172">823</cx:pt>
          <cx:pt idx="1173">823</cx:pt>
          <cx:pt idx="1174">823</cx:pt>
          <cx:pt idx="1175">823</cx:pt>
          <cx:pt idx="1176">823</cx:pt>
          <cx:pt idx="1177">823</cx:pt>
          <cx:pt idx="1178">823</cx:pt>
          <cx:pt idx="1179">823</cx:pt>
          <cx:pt idx="1180">823</cx:pt>
          <cx:pt idx="1181">823</cx:pt>
          <cx:pt idx="1182">823</cx:pt>
          <cx:pt idx="1183">823</cx:pt>
          <cx:pt idx="1184">823</cx:pt>
          <cx:pt idx="1185">823</cx:pt>
          <cx:pt idx="1186">823</cx:pt>
          <cx:pt idx="1187">823</cx:pt>
          <cx:pt idx="1188">823</cx:pt>
          <cx:pt idx="1189">823</cx:pt>
          <cx:pt idx="1190">823</cx:pt>
          <cx:pt idx="1191">823</cx:pt>
          <cx:pt idx="1192">823</cx:pt>
          <cx:pt idx="1193">823</cx:pt>
          <cx:pt idx="1194">823</cx:pt>
          <cx:pt idx="1195">823</cx:pt>
          <cx:pt idx="1196">823</cx:pt>
          <cx:pt idx="1197">823</cx:pt>
          <cx:pt idx="1198">823</cx:pt>
          <cx:pt idx="1199">823</cx:pt>
          <cx:pt idx="1200">823</cx:pt>
          <cx:pt idx="1201">823</cx:pt>
          <cx:pt idx="1202">823</cx:pt>
          <cx:pt idx="1203">823</cx:pt>
          <cx:pt idx="1204">823</cx:pt>
          <cx:pt idx="1205">823</cx:pt>
          <cx:pt idx="1206">823</cx:pt>
          <cx:pt idx="1207">823</cx:pt>
          <cx:pt idx="1208">823</cx:pt>
          <cx:pt idx="1209">823</cx:pt>
          <cx:pt idx="1210">823</cx:pt>
          <cx:pt idx="1211">823</cx:pt>
          <cx:pt idx="1212">823</cx:pt>
          <cx:pt idx="1213">823</cx:pt>
          <cx:pt idx="1214">822</cx:pt>
          <cx:pt idx="1215">816</cx:pt>
          <cx:pt idx="1216">816</cx:pt>
          <cx:pt idx="1217">816</cx:pt>
          <cx:pt idx="1218">816</cx:pt>
          <cx:pt idx="1219">816</cx:pt>
          <cx:pt idx="1220">816</cx:pt>
          <cx:pt idx="1221">813</cx:pt>
          <cx:pt idx="1222">813</cx:pt>
          <cx:pt idx="1223">813</cx:pt>
          <cx:pt idx="1224">812</cx:pt>
          <cx:pt idx="1225">810</cx:pt>
          <cx:pt idx="1226">810</cx:pt>
          <cx:pt idx="1227">809</cx:pt>
          <cx:pt idx="1228">808</cx:pt>
          <cx:pt idx="1229">788</cx:pt>
          <cx:pt idx="1230">788</cx:pt>
          <cx:pt idx="1231">788</cx:pt>
          <cx:pt idx="1232">788</cx:pt>
          <cx:pt idx="1233">788</cx:pt>
          <cx:pt idx="1234">788</cx:pt>
          <cx:pt idx="1235">788</cx:pt>
          <cx:pt idx="1236">788</cx:pt>
          <cx:pt idx="1237">788</cx:pt>
          <cx:pt idx="1238">788</cx:pt>
          <cx:pt idx="1239">788</cx:pt>
          <cx:pt idx="1240">788</cx:pt>
          <cx:pt idx="1241">788</cx:pt>
          <cx:pt idx="1242">788</cx:pt>
          <cx:pt idx="1243">788</cx:pt>
          <cx:pt idx="1244">788</cx:pt>
          <cx:pt idx="1245">788</cx:pt>
          <cx:pt idx="1246">788</cx:pt>
          <cx:pt idx="1247">788</cx:pt>
          <cx:pt idx="1248">788</cx:pt>
          <cx:pt idx="1249">787</cx:pt>
          <cx:pt idx="1250">706</cx:pt>
          <cx:pt idx="1251">706</cx:pt>
          <cx:pt idx="1252">706</cx:pt>
          <cx:pt idx="1253">706</cx:pt>
          <cx:pt idx="1254">706</cx:pt>
          <cx:pt idx="1255">706</cx:pt>
          <cx:pt idx="1256">706</cx:pt>
          <cx:pt idx="1257">706</cx:pt>
          <cx:pt idx="1258">706</cx:pt>
          <cx:pt idx="1259">706</cx:pt>
          <cx:pt idx="1260">706</cx:pt>
          <cx:pt idx="1261">706</cx:pt>
          <cx:pt idx="1262">706</cx:pt>
          <cx:pt idx="1263">706</cx:pt>
          <cx:pt idx="1264">706</cx:pt>
          <cx:pt idx="1265">706</cx:pt>
          <cx:pt idx="1266">706</cx:pt>
          <cx:pt idx="1267">706</cx:pt>
          <cx:pt idx="1268">706</cx:pt>
          <cx:pt idx="1269">706</cx:pt>
          <cx:pt idx="1270">706</cx:pt>
          <cx:pt idx="1271">706</cx:pt>
          <cx:pt idx="1272">706</cx:pt>
          <cx:pt idx="1273">706</cx:pt>
          <cx:pt idx="1274">706</cx:pt>
          <cx:pt idx="1275">706</cx:pt>
          <cx:pt idx="1276">706</cx:pt>
          <cx:pt idx="1277">706</cx:pt>
          <cx:pt idx="1278">706</cx:pt>
          <cx:pt idx="1279">706</cx:pt>
          <cx:pt idx="1280">706</cx:pt>
          <cx:pt idx="1281">706</cx:pt>
          <cx:pt idx="1282">706</cx:pt>
          <cx:pt idx="1283">706</cx:pt>
          <cx:pt idx="1284">706</cx:pt>
          <cx:pt idx="1285">706</cx:pt>
          <cx:pt idx="1286">706</cx:pt>
          <cx:pt idx="1287">706</cx:pt>
          <cx:pt idx="1288">706</cx:pt>
          <cx:pt idx="1289">706</cx:pt>
          <cx:pt idx="1290">706</cx:pt>
          <cx:pt idx="1291">706</cx:pt>
          <cx:pt idx="1292">706</cx:pt>
          <cx:pt idx="1293">706</cx:pt>
          <cx:pt idx="1294">706</cx:pt>
          <cx:pt idx="1295">706</cx:pt>
          <cx:pt idx="1296">706</cx:pt>
          <cx:pt idx="1297">706</cx:pt>
          <cx:pt idx="1298">706</cx:pt>
          <cx:pt idx="1299">706</cx:pt>
          <cx:pt idx="1300">706</cx:pt>
          <cx:pt idx="1301">706</cx:pt>
          <cx:pt idx="1302">706</cx:pt>
          <cx:pt idx="1303">706</cx:pt>
          <cx:pt idx="1304">706</cx:pt>
          <cx:pt idx="1305">706</cx:pt>
          <cx:pt idx="1306">706</cx:pt>
          <cx:pt idx="1307">706</cx:pt>
          <cx:pt idx="1308">706</cx:pt>
          <cx:pt idx="1309">706</cx:pt>
          <cx:pt idx="1310">706</cx:pt>
          <cx:pt idx="1311">706</cx:pt>
          <cx:pt idx="1312">706</cx:pt>
          <cx:pt idx="1313">706</cx:pt>
          <cx:pt idx="1314">706</cx:pt>
          <cx:pt idx="1315">706</cx:pt>
          <cx:pt idx="1316">706</cx:pt>
          <cx:pt idx="1317">706</cx:pt>
          <cx:pt idx="1318">706</cx:pt>
          <cx:pt idx="1319">706</cx:pt>
          <cx:pt idx="1320">706</cx:pt>
          <cx:pt idx="1321">706</cx:pt>
          <cx:pt idx="1322">706</cx:pt>
          <cx:pt idx="1323">706</cx:pt>
          <cx:pt idx="1324">706</cx:pt>
          <cx:pt idx="1325">706</cx:pt>
          <cx:pt idx="1326">706</cx:pt>
          <cx:pt idx="1327">706</cx:pt>
          <cx:pt idx="1328">706</cx:pt>
          <cx:pt idx="1329">706</cx:pt>
          <cx:pt idx="1330">706</cx:pt>
          <cx:pt idx="1331">687</cx:pt>
          <cx:pt idx="1332">687</cx:pt>
          <cx:pt idx="1333">687</cx:pt>
          <cx:pt idx="1334">687</cx:pt>
          <cx:pt idx="1335">687</cx:pt>
          <cx:pt idx="1336">687</cx:pt>
          <cx:pt idx="1337">687</cx:pt>
          <cx:pt idx="1338">687</cx:pt>
          <cx:pt idx="1339">687</cx:pt>
          <cx:pt idx="1340">687</cx:pt>
          <cx:pt idx="1341">687</cx:pt>
          <cx:pt idx="1342">687</cx:pt>
          <cx:pt idx="1343">687</cx:pt>
          <cx:pt idx="1344">687</cx:pt>
          <cx:pt idx="1345">687</cx:pt>
          <cx:pt idx="1346">687</cx:pt>
          <cx:pt idx="1347">687</cx:pt>
          <cx:pt idx="1348">687</cx:pt>
          <cx:pt idx="1349">687</cx:pt>
          <cx:pt idx="1350">685</cx:pt>
          <cx:pt idx="1351">685</cx:pt>
          <cx:pt idx="1352">684</cx:pt>
          <cx:pt idx="1353">681</cx:pt>
          <cx:pt idx="1354">681</cx:pt>
          <cx:pt idx="1355">681</cx:pt>
          <cx:pt idx="1356">680</cx:pt>
          <cx:pt idx="1357">679</cx:pt>
          <cx:pt idx="1358">677</cx:pt>
          <cx:pt idx="1359">677</cx:pt>
          <cx:pt idx="1360">612</cx:pt>
          <cx:pt idx="1361">612</cx:pt>
          <cx:pt idx="1362">612</cx:pt>
          <cx:pt idx="1363">612</cx:pt>
          <cx:pt idx="1364">612</cx:pt>
          <cx:pt idx="1365">612</cx:pt>
          <cx:pt idx="1366">612</cx:pt>
          <cx:pt idx="1367">612</cx:pt>
          <cx:pt idx="1368">612</cx:pt>
          <cx:pt idx="1369">612</cx:pt>
          <cx:pt idx="1370">612</cx:pt>
          <cx:pt idx="1371">612</cx:pt>
          <cx:pt idx="1372">612</cx:pt>
          <cx:pt idx="1373">612</cx:pt>
          <cx:pt idx="1374">612</cx:pt>
          <cx:pt idx="1375">612</cx:pt>
          <cx:pt idx="1376">612</cx:pt>
          <cx:pt idx="1377">612</cx:pt>
          <cx:pt idx="1378">612</cx:pt>
          <cx:pt idx="1379">612</cx:pt>
          <cx:pt idx="1380">612</cx:pt>
          <cx:pt idx="1381">612</cx:pt>
          <cx:pt idx="1382">612</cx:pt>
          <cx:pt idx="1383">612</cx:pt>
          <cx:pt idx="1384">612</cx:pt>
          <cx:pt idx="1385">612</cx:pt>
          <cx:pt idx="1386">612</cx:pt>
          <cx:pt idx="1387">612</cx:pt>
          <cx:pt idx="1388">612</cx:pt>
          <cx:pt idx="1389">612</cx:pt>
          <cx:pt idx="1390">612</cx:pt>
          <cx:pt idx="1391">612</cx:pt>
          <cx:pt idx="1392">612</cx:pt>
          <cx:pt idx="1393">612</cx:pt>
          <cx:pt idx="1394">612</cx:pt>
          <cx:pt idx="1395">612</cx:pt>
          <cx:pt idx="1396">612</cx:pt>
          <cx:pt idx="1397">612</cx:pt>
          <cx:pt idx="1398">612</cx:pt>
          <cx:pt idx="1399">612</cx:pt>
          <cx:pt idx="1400">612</cx:pt>
          <cx:pt idx="1401">612</cx:pt>
          <cx:pt idx="1402">612</cx:pt>
          <cx:pt idx="1403">612</cx:pt>
          <cx:pt idx="1404">612</cx:pt>
          <cx:pt idx="1405">612</cx:pt>
          <cx:pt idx="1406">612</cx:pt>
          <cx:pt idx="1407">612</cx:pt>
          <cx:pt idx="1408">612</cx:pt>
          <cx:pt idx="1409">612</cx:pt>
          <cx:pt idx="1410">612</cx:pt>
          <cx:pt idx="1411">612</cx:pt>
          <cx:pt idx="1412">612</cx:pt>
          <cx:pt idx="1413">612</cx:pt>
          <cx:pt idx="1414">612</cx:pt>
          <cx:pt idx="1415">612</cx:pt>
          <cx:pt idx="1416">612</cx:pt>
          <cx:pt idx="1417">612</cx:pt>
          <cx:pt idx="1418">612</cx:pt>
          <cx:pt idx="1419">612</cx:pt>
          <cx:pt idx="1420">612</cx:pt>
          <cx:pt idx="1421">612</cx:pt>
          <cx:pt idx="1422">612</cx:pt>
          <cx:pt idx="1423">612</cx:pt>
          <cx:pt idx="1424">612</cx:pt>
          <cx:pt idx="1425">611</cx:pt>
          <cx:pt idx="1426">550</cx:pt>
          <cx:pt idx="1427">550</cx:pt>
          <cx:pt idx="1428">550</cx:pt>
          <cx:pt idx="1429">550</cx:pt>
          <cx:pt idx="1430">550</cx:pt>
          <cx:pt idx="1431">550</cx:pt>
          <cx:pt idx="1432">550</cx:pt>
          <cx:pt idx="1433">550</cx:pt>
          <cx:pt idx="1434">550</cx:pt>
          <cx:pt idx="1435">550</cx:pt>
          <cx:pt idx="1436">550</cx:pt>
          <cx:pt idx="1437">550</cx:pt>
          <cx:pt idx="1438">550</cx:pt>
          <cx:pt idx="1439">550</cx:pt>
          <cx:pt idx="1440">550</cx:pt>
          <cx:pt idx="1441">550</cx:pt>
          <cx:pt idx="1442">550</cx:pt>
          <cx:pt idx="1443">550</cx:pt>
          <cx:pt idx="1444">550</cx:pt>
          <cx:pt idx="1445">550</cx:pt>
          <cx:pt idx="1446">550</cx:pt>
          <cx:pt idx="1447">550</cx:pt>
          <cx:pt idx="1448">550</cx:pt>
          <cx:pt idx="1449">550</cx:pt>
          <cx:pt idx="1450">550</cx:pt>
          <cx:pt idx="1451">550</cx:pt>
          <cx:pt idx="1452">550</cx:pt>
          <cx:pt idx="1453">550</cx:pt>
          <cx:pt idx="1454">550</cx:pt>
          <cx:pt idx="1455">550</cx:pt>
          <cx:pt idx="1456">550</cx:pt>
          <cx:pt idx="1457">550</cx:pt>
          <cx:pt idx="1458">550</cx:pt>
          <cx:pt idx="1459">550</cx:pt>
          <cx:pt idx="1460">550</cx:pt>
          <cx:pt idx="1461">550</cx:pt>
          <cx:pt idx="1462">550</cx:pt>
          <cx:pt idx="1463">550</cx:pt>
          <cx:pt idx="1464">550</cx:pt>
          <cx:pt idx="1465">550</cx:pt>
          <cx:pt idx="1466">550</cx:pt>
          <cx:pt idx="1467">550</cx:pt>
          <cx:pt idx="1468">550</cx:pt>
          <cx:pt idx="1469">550</cx:pt>
          <cx:pt idx="1470">550</cx:pt>
          <cx:pt idx="1471">550</cx:pt>
          <cx:pt idx="1472">550</cx:pt>
          <cx:pt idx="1473">550</cx:pt>
          <cx:pt idx="1474">550</cx:pt>
          <cx:pt idx="1475">550</cx:pt>
          <cx:pt idx="1476">550</cx:pt>
          <cx:pt idx="1477">550</cx:pt>
          <cx:pt idx="1478">550</cx:pt>
          <cx:pt idx="1479">550</cx:pt>
          <cx:pt idx="1480">550</cx:pt>
          <cx:pt idx="1481">550</cx:pt>
          <cx:pt idx="1482">550</cx:pt>
          <cx:pt idx="1483">550</cx:pt>
          <cx:pt idx="1484">550</cx:pt>
          <cx:pt idx="1485">550</cx:pt>
          <cx:pt idx="1486">550</cx:pt>
          <cx:pt idx="1487">542</cx:pt>
          <cx:pt idx="1488">542</cx:pt>
          <cx:pt idx="1489">542</cx:pt>
          <cx:pt idx="1490">542</cx:pt>
          <cx:pt idx="1491">542</cx:pt>
          <cx:pt idx="1492">542</cx:pt>
          <cx:pt idx="1493">542</cx:pt>
          <cx:pt idx="1494">542</cx:pt>
          <cx:pt idx="1495">510</cx:pt>
          <cx:pt idx="1496">510</cx:pt>
          <cx:pt idx="1497">510</cx:pt>
          <cx:pt idx="1498">510</cx:pt>
          <cx:pt idx="1499">510</cx:pt>
          <cx:pt idx="1500">510</cx:pt>
          <cx:pt idx="1501">510</cx:pt>
          <cx:pt idx="1502">510</cx:pt>
          <cx:pt idx="1503">510</cx:pt>
          <cx:pt idx="1504">510</cx:pt>
          <cx:pt idx="1505">510</cx:pt>
          <cx:pt idx="1506">510</cx:pt>
          <cx:pt idx="1507">510</cx:pt>
          <cx:pt idx="1508">510</cx:pt>
          <cx:pt idx="1509">510</cx:pt>
          <cx:pt idx="1510">510</cx:pt>
          <cx:pt idx="1511">510</cx:pt>
          <cx:pt idx="1512">510</cx:pt>
          <cx:pt idx="1513">510</cx:pt>
          <cx:pt idx="1514">510</cx:pt>
          <cx:pt idx="1515">510</cx:pt>
          <cx:pt idx="1516">510</cx:pt>
          <cx:pt idx="1517">510</cx:pt>
          <cx:pt idx="1518">510</cx:pt>
          <cx:pt idx="1519">510</cx:pt>
          <cx:pt idx="1520">510</cx:pt>
          <cx:pt idx="1521">510</cx:pt>
          <cx:pt idx="1522">510</cx:pt>
          <cx:pt idx="1523">510</cx:pt>
          <cx:pt idx="1524">510</cx:pt>
          <cx:pt idx="1525">510</cx:pt>
          <cx:pt idx="1526">510</cx:pt>
          <cx:pt idx="1527">494</cx:pt>
          <cx:pt idx="1528">494</cx:pt>
          <cx:pt idx="1529">494</cx:pt>
          <cx:pt idx="1530">494</cx:pt>
          <cx:pt idx="1531">494</cx:pt>
          <cx:pt idx="1532">494</cx:pt>
          <cx:pt idx="1533">494</cx:pt>
          <cx:pt idx="1534">494</cx:pt>
          <cx:pt idx="1535">494</cx:pt>
          <cx:pt idx="1536">494</cx:pt>
          <cx:pt idx="1537">494</cx:pt>
          <cx:pt idx="1538">494</cx:pt>
          <cx:pt idx="1539">494</cx:pt>
          <cx:pt idx="1540">494</cx:pt>
          <cx:pt idx="1541">494</cx:pt>
          <cx:pt idx="1542">494</cx:pt>
          <cx:pt idx="1543">493</cx:pt>
          <cx:pt idx="1544">492</cx:pt>
          <cx:pt idx="1545">485</cx:pt>
          <cx:pt idx="1546">485</cx:pt>
          <cx:pt idx="1547">485</cx:pt>
          <cx:pt idx="1548">485</cx:pt>
          <cx:pt idx="1549">485</cx:pt>
          <cx:pt idx="1550">485</cx:pt>
          <cx:pt idx="1551">485</cx:pt>
          <cx:pt idx="1552">484</cx:pt>
          <cx:pt idx="1553">483</cx:pt>
          <cx:pt idx="1554">458</cx:pt>
          <cx:pt idx="1555">458</cx:pt>
          <cx:pt idx="1556">458</cx:pt>
          <cx:pt idx="1557">458</cx:pt>
          <cx:pt idx="1558">458</cx:pt>
          <cx:pt idx="1559">458</cx:pt>
          <cx:pt idx="1560">458</cx:pt>
          <cx:pt idx="1561">458</cx:pt>
          <cx:pt idx="1562">458</cx:pt>
          <cx:pt idx="1563">458</cx:pt>
          <cx:pt idx="1564">458</cx:pt>
          <cx:pt idx="1565">458</cx:pt>
          <cx:pt idx="1566">458</cx:pt>
          <cx:pt idx="1567">458</cx:pt>
          <cx:pt idx="1568">458</cx:pt>
          <cx:pt idx="1569">458</cx:pt>
          <cx:pt idx="1570">458</cx:pt>
          <cx:pt idx="1571">458</cx:pt>
          <cx:pt idx="1572">458</cx:pt>
          <cx:pt idx="1573">458</cx:pt>
          <cx:pt idx="1574">458</cx:pt>
          <cx:pt idx="1575">458</cx:pt>
          <cx:pt idx="1576">458</cx:pt>
          <cx:pt idx="1577">458</cx:pt>
          <cx:pt idx="1578">458</cx:pt>
          <cx:pt idx="1579">457</cx:pt>
          <cx:pt idx="1580">455</cx:pt>
          <cx:pt idx="1581">455</cx:pt>
          <cx:pt idx="1582">453</cx:pt>
          <cx:pt idx="1583">453</cx:pt>
          <cx:pt idx="1584">452</cx:pt>
          <cx:pt idx="1585">451</cx:pt>
          <cx:pt idx="1586">446</cx:pt>
          <cx:pt idx="1587">446</cx:pt>
          <cx:pt idx="1588">446</cx:pt>
          <cx:pt idx="1589">446</cx:pt>
          <cx:pt idx="1590">446</cx:pt>
          <cx:pt idx="1591">443</cx:pt>
          <cx:pt idx="1592">443</cx:pt>
          <cx:pt idx="1593">443</cx:pt>
          <cx:pt idx="1594">434</cx:pt>
          <cx:pt idx="1595">434</cx:pt>
          <cx:pt idx="1596">434</cx:pt>
          <cx:pt idx="1597">434</cx:pt>
          <cx:pt idx="1598">434</cx:pt>
          <cx:pt idx="1599">434</cx:pt>
          <cx:pt idx="1600">434</cx:pt>
          <cx:pt idx="1601">434</cx:pt>
          <cx:pt idx="1602">434</cx:pt>
          <cx:pt idx="1603">433</cx:pt>
          <cx:pt idx="1604">395</cx:pt>
          <cx:pt idx="1605">395</cx:pt>
          <cx:pt idx="1606">395</cx:pt>
          <cx:pt idx="1607">395</cx:pt>
          <cx:pt idx="1608">395</cx:pt>
          <cx:pt idx="1609">395</cx:pt>
          <cx:pt idx="1610">395</cx:pt>
          <cx:pt idx="1611">395</cx:pt>
          <cx:pt idx="1612">395</cx:pt>
          <cx:pt idx="1613">395</cx:pt>
          <cx:pt idx="1614">395</cx:pt>
          <cx:pt idx="1615">395</cx:pt>
          <cx:pt idx="1616">395</cx:pt>
          <cx:pt idx="1617">395</cx:pt>
          <cx:pt idx="1618">395</cx:pt>
          <cx:pt idx="1619">395</cx:pt>
          <cx:pt idx="1620">395</cx:pt>
          <cx:pt idx="1621">395</cx:pt>
          <cx:pt idx="1622">395</cx:pt>
          <cx:pt idx="1623">395</cx:pt>
          <cx:pt idx="1624">395</cx:pt>
          <cx:pt idx="1625">395</cx:pt>
          <cx:pt idx="1626">395</cx:pt>
          <cx:pt idx="1627">395</cx:pt>
          <cx:pt idx="1628">395</cx:pt>
          <cx:pt idx="1629">395</cx:pt>
          <cx:pt idx="1630">395</cx:pt>
          <cx:pt idx="1631">395</cx:pt>
          <cx:pt idx="1632">395</cx:pt>
          <cx:pt idx="1633">395</cx:pt>
          <cx:pt idx="1634">395</cx:pt>
          <cx:pt idx="1635">395</cx:pt>
          <cx:pt idx="1636">395</cx:pt>
          <cx:pt idx="1637">395</cx:pt>
          <cx:pt idx="1638">395</cx:pt>
          <cx:pt idx="1639">395</cx:pt>
          <cx:pt idx="1640">395</cx:pt>
          <cx:pt idx="1641">395</cx:pt>
          <cx:pt idx="1642">391</cx:pt>
          <cx:pt idx="1643">391</cx:pt>
          <cx:pt idx="1644">391</cx:pt>
          <cx:pt idx="1645">391</cx:pt>
          <cx:pt idx="1646">388</cx:pt>
          <cx:pt idx="1647">388</cx:pt>
          <cx:pt idx="1648">388</cx:pt>
          <cx:pt idx="1649">382</cx:pt>
          <cx:pt idx="1650">382</cx:pt>
          <cx:pt idx="1651">382</cx:pt>
          <cx:pt idx="1652">382</cx:pt>
          <cx:pt idx="1653">382</cx:pt>
          <cx:pt idx="1654">382</cx:pt>
          <cx:pt idx="1655">381</cx:pt>
          <cx:pt idx="1656">374</cx:pt>
          <cx:pt idx="1657">374</cx:pt>
          <cx:pt idx="1658">374</cx:pt>
          <cx:pt idx="1659">374</cx:pt>
          <cx:pt idx="1660">374</cx:pt>
          <cx:pt idx="1661">374</cx:pt>
          <cx:pt idx="1662">374</cx:pt>
          <cx:pt idx="1663">247</cx:pt>
          <cx:pt idx="1664">247</cx:pt>
          <cx:pt idx="1665">247</cx:pt>
          <cx:pt idx="1666">247</cx:pt>
          <cx:pt idx="1667">247</cx:pt>
          <cx:pt idx="1668">247</cx:pt>
          <cx:pt idx="1669">247</cx:pt>
          <cx:pt idx="1670">247</cx:pt>
          <cx:pt idx="1671">247</cx:pt>
          <cx:pt idx="1672">247</cx:pt>
          <cx:pt idx="1673">247</cx:pt>
          <cx:pt idx="1674">247</cx:pt>
          <cx:pt idx="1675">247</cx:pt>
          <cx:pt idx="1676">247</cx:pt>
          <cx:pt idx="1677">247</cx:pt>
          <cx:pt idx="1678">247</cx:pt>
          <cx:pt idx="1679">247</cx:pt>
          <cx:pt idx="1680">247</cx:pt>
          <cx:pt idx="1681">247</cx:pt>
          <cx:pt idx="1682">247</cx:pt>
          <cx:pt idx="1683">247</cx:pt>
          <cx:pt idx="1684">247</cx:pt>
          <cx:pt idx="1685">247</cx:pt>
          <cx:pt idx="1686">247</cx:pt>
          <cx:pt idx="1687">247</cx:pt>
          <cx:pt idx="1688">247</cx:pt>
          <cx:pt idx="1689">247</cx:pt>
          <cx:pt idx="1690">247</cx:pt>
          <cx:pt idx="1691">247</cx:pt>
          <cx:pt idx="1692">247</cx:pt>
          <cx:pt idx="1693">247</cx:pt>
          <cx:pt idx="1694">247</cx:pt>
          <cx:pt idx="1695">247</cx:pt>
          <cx:pt idx="1696">247</cx:pt>
          <cx:pt idx="1697">247</cx:pt>
          <cx:pt idx="1698">247</cx:pt>
          <cx:pt idx="1699">247</cx:pt>
          <cx:pt idx="1700">247</cx:pt>
          <cx:pt idx="1701">247</cx:pt>
          <cx:pt idx="1702">247</cx:pt>
          <cx:pt idx="1703">247</cx:pt>
          <cx:pt idx="1704">247</cx:pt>
          <cx:pt idx="1705">247</cx:pt>
          <cx:pt idx="1706">247</cx:pt>
          <cx:pt idx="1707">247</cx:pt>
          <cx:pt idx="1708">247</cx:pt>
          <cx:pt idx="1709">247</cx:pt>
          <cx:pt idx="1710">247</cx:pt>
          <cx:pt idx="1711">247</cx:pt>
          <cx:pt idx="1712">247</cx:pt>
          <cx:pt idx="1713">247</cx:pt>
          <cx:pt idx="1714">247</cx:pt>
          <cx:pt idx="1715">247</cx:pt>
          <cx:pt idx="1716">247</cx:pt>
          <cx:pt idx="1717">247</cx:pt>
          <cx:pt idx="1718">247</cx:pt>
          <cx:pt idx="1719">247</cx:pt>
          <cx:pt idx="1720">247</cx:pt>
          <cx:pt idx="1721">247</cx:pt>
          <cx:pt idx="1722">247</cx:pt>
          <cx:pt idx="1723">247</cx:pt>
          <cx:pt idx="1724">247</cx:pt>
          <cx:pt idx="1725">247</cx:pt>
          <cx:pt idx="1726">247</cx:pt>
          <cx:pt idx="1727">247</cx:pt>
          <cx:pt idx="1728">247</cx:pt>
          <cx:pt idx="1729">247</cx:pt>
          <cx:pt idx="1730">247</cx:pt>
          <cx:pt idx="1731">247</cx:pt>
          <cx:pt idx="1732">247</cx:pt>
          <cx:pt idx="1733">247</cx:pt>
          <cx:pt idx="1734">247</cx:pt>
          <cx:pt idx="1735">247</cx:pt>
          <cx:pt idx="1736">247</cx:pt>
          <cx:pt idx="1737">247</cx:pt>
          <cx:pt idx="1738">247</cx:pt>
          <cx:pt idx="1739">247</cx:pt>
          <cx:pt idx="1740">247</cx:pt>
          <cx:pt idx="1741">247</cx:pt>
          <cx:pt idx="1742">247</cx:pt>
          <cx:pt idx="1743">247</cx:pt>
          <cx:pt idx="1744">247</cx:pt>
          <cx:pt idx="1745">247</cx:pt>
          <cx:pt idx="1746">247</cx:pt>
          <cx:pt idx="1747">247</cx:pt>
          <cx:pt idx="1748">247</cx:pt>
          <cx:pt idx="1749">247</cx:pt>
          <cx:pt idx="1750">247</cx:pt>
          <cx:pt idx="1751">247</cx:pt>
          <cx:pt idx="1752">247</cx:pt>
          <cx:pt idx="1753">247</cx:pt>
          <cx:pt idx="1754">247</cx:pt>
          <cx:pt idx="1755">247</cx:pt>
          <cx:pt idx="1756">247</cx:pt>
          <cx:pt idx="1757">247</cx:pt>
          <cx:pt idx="1758">247</cx:pt>
          <cx:pt idx="1759">247</cx:pt>
          <cx:pt idx="1760">247</cx:pt>
          <cx:pt idx="1761">247</cx:pt>
          <cx:pt idx="1762">247</cx:pt>
          <cx:pt idx="1763">247</cx:pt>
          <cx:pt idx="1764">247</cx:pt>
          <cx:pt idx="1765">247</cx:pt>
          <cx:pt idx="1766">247</cx:pt>
          <cx:pt idx="1767">247</cx:pt>
          <cx:pt idx="1768">247</cx:pt>
          <cx:pt idx="1769">247</cx:pt>
          <cx:pt idx="1770">247</cx:pt>
          <cx:pt idx="1771">247</cx:pt>
          <cx:pt idx="1772">247</cx:pt>
          <cx:pt idx="1773">247</cx:pt>
          <cx:pt idx="1774">247</cx:pt>
          <cx:pt idx="1775">247</cx:pt>
          <cx:pt idx="1776">247</cx:pt>
          <cx:pt idx="1777">247</cx:pt>
          <cx:pt idx="1778">247</cx:pt>
          <cx:pt idx="1779">247</cx:pt>
          <cx:pt idx="1780">247</cx:pt>
          <cx:pt idx="1781">247</cx:pt>
          <cx:pt idx="1782">247</cx:pt>
          <cx:pt idx="1783">247</cx:pt>
          <cx:pt idx="1784">247</cx:pt>
          <cx:pt idx="1785">247</cx:pt>
          <cx:pt idx="1786">247</cx:pt>
          <cx:pt idx="1787">247</cx:pt>
          <cx:pt idx="1788">247</cx:pt>
          <cx:pt idx="1789">247</cx:pt>
          <cx:pt idx="1790">239</cx:pt>
          <cx:pt idx="1791">239</cx:pt>
          <cx:pt idx="1792">239</cx:pt>
          <cx:pt idx="1793">239</cx:pt>
          <cx:pt idx="1794">239</cx:pt>
          <cx:pt idx="1795">239</cx:pt>
          <cx:pt idx="1796">239</cx:pt>
          <cx:pt idx="1797">239</cx:pt>
          <cx:pt idx="1798">238</cx:pt>
          <cx:pt idx="1799">226</cx:pt>
          <cx:pt idx="1800">226</cx:pt>
          <cx:pt idx="1801">226</cx:pt>
          <cx:pt idx="1802">226</cx:pt>
          <cx:pt idx="1803">226</cx:pt>
          <cx:pt idx="1804">226</cx:pt>
          <cx:pt idx="1805">226</cx:pt>
          <cx:pt idx="1806">226</cx:pt>
          <cx:pt idx="1807">226</cx:pt>
          <cx:pt idx="1808">226</cx:pt>
          <cx:pt idx="1809">226</cx:pt>
          <cx:pt idx="1810">226</cx:pt>
          <cx:pt idx="1811">133</cx:pt>
          <cx:pt idx="1812">133</cx:pt>
          <cx:pt idx="1813">133</cx:pt>
          <cx:pt idx="1814">133</cx:pt>
          <cx:pt idx="1815">133</cx:pt>
          <cx:pt idx="1816">133</cx:pt>
          <cx:pt idx="1817">133</cx:pt>
          <cx:pt idx="1818">133</cx:pt>
          <cx:pt idx="1819">133</cx:pt>
          <cx:pt idx="1820">133</cx:pt>
          <cx:pt idx="1821">133</cx:pt>
          <cx:pt idx="1822">133</cx:pt>
          <cx:pt idx="1823">133</cx:pt>
          <cx:pt idx="1824">133</cx:pt>
          <cx:pt idx="1825">133</cx:pt>
          <cx:pt idx="1826">133</cx:pt>
          <cx:pt idx="1827">133</cx:pt>
          <cx:pt idx="1828">133</cx:pt>
          <cx:pt idx="1829">133</cx:pt>
          <cx:pt idx="1830">133</cx:pt>
          <cx:pt idx="1831">133</cx:pt>
          <cx:pt idx="1832">133</cx:pt>
          <cx:pt idx="1833">133</cx:pt>
          <cx:pt idx="1834">133</cx:pt>
          <cx:pt idx="1835">133</cx:pt>
          <cx:pt idx="1836">133</cx:pt>
          <cx:pt idx="1837">133</cx:pt>
          <cx:pt idx="1838">133</cx:pt>
          <cx:pt idx="1839">133</cx:pt>
          <cx:pt idx="1840">133</cx:pt>
          <cx:pt idx="1841">133</cx:pt>
          <cx:pt idx="1842">133</cx:pt>
          <cx:pt idx="1843">133</cx:pt>
          <cx:pt idx="1844">133</cx:pt>
          <cx:pt idx="1845">133</cx:pt>
          <cx:pt idx="1846">133</cx:pt>
          <cx:pt idx="1847">133</cx:pt>
          <cx:pt idx="1848">133</cx:pt>
          <cx:pt idx="1849">133</cx:pt>
          <cx:pt idx="1850">133</cx:pt>
          <cx:pt idx="1851">133</cx:pt>
          <cx:pt idx="1852">133</cx:pt>
          <cx:pt idx="1853">133</cx:pt>
          <cx:pt idx="1854">133</cx:pt>
          <cx:pt idx="1855">133</cx:pt>
          <cx:pt idx="1856">133</cx:pt>
          <cx:pt idx="1857">133</cx:pt>
          <cx:pt idx="1858">133</cx:pt>
          <cx:pt idx="1859">133</cx:pt>
          <cx:pt idx="1860">133</cx:pt>
          <cx:pt idx="1861">133</cx:pt>
          <cx:pt idx="1862">133</cx:pt>
          <cx:pt idx="1863">133</cx:pt>
          <cx:pt idx="1864">133</cx:pt>
          <cx:pt idx="1865">133</cx:pt>
          <cx:pt idx="1866">133</cx:pt>
          <cx:pt idx="1867">133</cx:pt>
          <cx:pt idx="1868">133</cx:pt>
          <cx:pt idx="1869">133</cx:pt>
          <cx:pt idx="1870">133</cx:pt>
          <cx:pt idx="1871">133</cx:pt>
          <cx:pt idx="1872">133</cx:pt>
          <cx:pt idx="1873">133</cx:pt>
          <cx:pt idx="1874">133</cx:pt>
          <cx:pt idx="1875">133</cx:pt>
          <cx:pt idx="1876">133</cx:pt>
          <cx:pt idx="1877">133</cx:pt>
          <cx:pt idx="1878">133</cx:pt>
          <cx:pt idx="1879">133</cx:pt>
          <cx:pt idx="1880">133</cx:pt>
          <cx:pt idx="1881">133</cx:pt>
          <cx:pt idx="1882">133</cx:pt>
          <cx:pt idx="1883">133</cx:pt>
          <cx:pt idx="1884">133</cx:pt>
          <cx:pt idx="1885">133</cx:pt>
          <cx:pt idx="1886">133</cx:pt>
          <cx:pt idx="1887">133</cx:pt>
          <cx:pt idx="1888">133</cx:pt>
          <cx:pt idx="1889">133</cx:pt>
          <cx:pt idx="1890">133</cx:pt>
          <cx:pt idx="1891">133</cx:pt>
          <cx:pt idx="1892">133</cx:pt>
          <cx:pt idx="1893">133</cx:pt>
          <cx:pt idx="1894">133</cx:pt>
          <cx:pt idx="1895">133</cx:pt>
          <cx:pt idx="1896">133</cx:pt>
          <cx:pt idx="1897">133</cx:pt>
          <cx:pt idx="1898">133</cx:pt>
          <cx:pt idx="1899">133</cx:pt>
          <cx:pt idx="1900">133</cx:pt>
          <cx:pt idx="1901">133</cx:pt>
          <cx:pt idx="1902">133</cx:pt>
          <cx:pt idx="1903">133</cx:pt>
          <cx:pt idx="1904">132</cx:pt>
          <cx:pt idx="1905">13</cx:pt>
          <cx:pt idx="1906">13</cx:pt>
          <cx:pt idx="1907">13</cx:pt>
          <cx:pt idx="1908">13</cx:pt>
          <cx:pt idx="1909">13</cx:pt>
          <cx:pt idx="1910">13</cx:pt>
          <cx:pt idx="1911">13</cx:pt>
          <cx:pt idx="1912">13</cx:pt>
          <cx:pt idx="1913">13</cx:pt>
          <cx:pt idx="1914">13</cx:pt>
          <cx:pt idx="1915">13</cx:pt>
          <cx:pt idx="1916">13</cx:pt>
          <cx:pt idx="1917">13</cx:pt>
          <cx:pt idx="1918">13</cx:pt>
          <cx:pt idx="1919">13</cx:pt>
          <cx:pt idx="1920">13</cx:pt>
          <cx:pt idx="1921">13</cx:pt>
          <cx:pt idx="1922">13</cx:pt>
          <cx:pt idx="1923">13</cx:pt>
          <cx:pt idx="1924">13</cx:pt>
          <cx:pt idx="1925">13</cx:pt>
          <cx:pt idx="1926">13</cx:pt>
          <cx:pt idx="1927">13</cx:pt>
          <cx:pt idx="1928">13</cx:pt>
          <cx:pt idx="1929">13</cx:pt>
          <cx:pt idx="1930">13</cx:pt>
          <cx:pt idx="1931">13</cx:pt>
          <cx:pt idx="1932">13</cx:pt>
          <cx:pt idx="1933">13</cx:pt>
          <cx:pt idx="1934">13</cx:pt>
          <cx:pt idx="1935">13</cx:pt>
          <cx:pt idx="1936">13</cx:pt>
          <cx:pt idx="1937">13</cx:pt>
          <cx:pt idx="1938">13</cx:pt>
          <cx:pt idx="1939">13</cx:pt>
          <cx:pt idx="1940">13</cx:pt>
          <cx:pt idx="1941">13</cx:pt>
          <cx:pt idx="1942">13</cx:pt>
          <cx:pt idx="1943">13</cx:pt>
          <cx:pt idx="1944">13</cx:pt>
          <cx:pt idx="1945">13</cx:pt>
          <cx:pt idx="1946">13</cx:pt>
          <cx:pt idx="1947">13</cx:pt>
          <cx:pt idx="1948">13</cx:pt>
          <cx:pt idx="1949">13</cx:pt>
          <cx:pt idx="1950">13</cx:pt>
          <cx:pt idx="1951">13</cx:pt>
          <cx:pt idx="1952">13</cx:pt>
          <cx:pt idx="1953">13</cx:pt>
          <cx:pt idx="1954">13</cx:pt>
          <cx:pt idx="1955">13</cx:pt>
          <cx:pt idx="1956">13</cx:pt>
          <cx:pt idx="1957">13</cx:pt>
          <cx:pt idx="1958">13</cx:pt>
          <cx:pt idx="1959">13</cx:pt>
          <cx:pt idx="1960">13</cx:pt>
          <cx:pt idx="1961">13</cx:pt>
          <cx:pt idx="1962">13</cx:pt>
          <cx:pt idx="1963">13</cx:pt>
          <cx:pt idx="1964">13</cx:pt>
          <cx:pt idx="1965">13</cx:pt>
          <cx:pt idx="1966">13</cx:pt>
          <cx:pt idx="1967">13</cx:pt>
          <cx:pt idx="1968">13</cx:pt>
          <cx:pt idx="1969">13</cx:pt>
          <cx:pt idx="1970">13</cx:pt>
          <cx:pt idx="1971">13</cx:pt>
          <cx:pt idx="1972">13</cx:pt>
          <cx:pt idx="1973">13</cx:pt>
          <cx:pt idx="1974">13</cx:pt>
          <cx:pt idx="1975">13</cx:pt>
          <cx:pt idx="1976">13</cx:pt>
          <cx:pt idx="1977">13</cx:pt>
          <cx:pt idx="1978">13</cx:pt>
          <cx:pt idx="1979">13</cx:pt>
          <cx:pt idx="1980">13</cx:pt>
          <cx:pt idx="1981">13</cx:pt>
          <cx:pt idx="1982">13</cx:pt>
          <cx:pt idx="1983">13</cx:pt>
          <cx:pt idx="1984">13</cx:pt>
          <cx:pt idx="1985">13</cx:pt>
          <cx:pt idx="1986">13</cx:pt>
          <cx:pt idx="1987">13</cx:pt>
          <cx:pt idx="1988">13</cx:pt>
          <cx:pt idx="1989">13</cx:pt>
          <cx:pt idx="1990">13</cx:pt>
          <cx:pt idx="1991">13</cx:pt>
          <cx:pt idx="1992">13</cx:pt>
          <cx:pt idx="1993">13</cx:pt>
          <cx:pt idx="1994">13</cx:pt>
          <cx:pt idx="1995">13</cx:pt>
          <cx:pt idx="1996">13</cx:pt>
          <cx:pt idx="1997">13</cx:pt>
          <cx:pt idx="1998">13</cx:pt>
          <cx:pt idx="1999">13</cx:pt>
          <cx:pt idx="2000">13</cx:pt>
          <cx:pt idx="2001">13</cx:pt>
          <cx:pt idx="2002">13</cx:pt>
          <cx:pt idx="2003">13</cx:pt>
          <cx:pt idx="2004">13</cx:pt>
          <cx:pt idx="2005">13</cx:pt>
          <cx:pt idx="2006">13</cx:pt>
          <cx:pt idx="2007">13</cx:pt>
          <cx:pt idx="2008">13</cx:pt>
          <cx:pt idx="2009">13</cx:pt>
          <cx:pt idx="2010">13</cx:pt>
          <cx:pt idx="2011">13</cx:pt>
          <cx:pt idx="2012">13</cx:pt>
          <cx:pt idx="2013">13</cx:pt>
          <cx:pt idx="2014">13</cx:pt>
          <cx:pt idx="2015">13</cx:pt>
          <cx:pt idx="2016">13</cx:pt>
          <cx:pt idx="2017">13</cx:pt>
          <cx:pt idx="2018">13</cx:pt>
          <cx:pt idx="2019">13</cx:pt>
          <cx:pt idx="2020">13</cx:pt>
          <cx:pt idx="2021">13</cx:pt>
          <cx:pt idx="2022">13</cx:pt>
          <cx:pt idx="2023">13</cx:pt>
          <cx:pt idx="2024">13</cx:pt>
          <cx:pt idx="2025">13</cx:pt>
          <cx:pt idx="2026">13</cx:pt>
          <cx:pt idx="2027">13</cx:pt>
          <cx:pt idx="2028">13</cx:pt>
          <cx:pt idx="2029">13</cx:pt>
          <cx:pt idx="2030">13</cx:pt>
          <cx:pt idx="2031">13</cx:pt>
          <cx:pt idx="2032">13</cx:pt>
          <cx:pt idx="2033">13</cx:pt>
          <cx:pt idx="2034">13</cx:pt>
          <cx:pt idx="2035">13</cx:pt>
          <cx:pt idx="2036">13</cx:pt>
          <cx:pt idx="2037">13</cx:pt>
          <cx:pt idx="2038">13</cx:pt>
          <cx:pt idx="2039">13</cx:pt>
          <cx:pt idx="2040">13</cx:pt>
          <cx:pt idx="2041">13</cx:pt>
          <cx:pt idx="2042">13</cx:pt>
          <cx:pt idx="2043">13</cx:pt>
          <cx:pt idx="2044">13</cx:pt>
          <cx:pt idx="2045">13</cx:pt>
          <cx:pt idx="2046">13</cx:pt>
          <cx:pt idx="2047">13</cx:pt>
          <cx:pt idx="2048">13</cx:pt>
          <cx:pt idx="2049">13</cx:pt>
          <cx:pt idx="2050">13</cx:pt>
          <cx:pt idx="2051">13</cx:pt>
          <cx:pt idx="2052">13</cx:pt>
          <cx:pt idx="2053">13</cx:pt>
          <cx:pt idx="2054">13</cx:pt>
          <cx:pt idx="2055">13</cx:pt>
          <cx:pt idx="2056">13</cx:pt>
          <cx:pt idx="2057">13</cx:pt>
          <cx:pt idx="2058">13</cx:pt>
          <cx:pt idx="2059">13</cx:pt>
          <cx:pt idx="2060">13</cx:pt>
          <cx:pt idx="2061">13</cx:pt>
          <cx:pt idx="2062">13</cx:pt>
          <cx:pt idx="2063">13</cx:pt>
          <cx:pt idx="2064">13</cx:pt>
          <cx:pt idx="2065">13</cx:pt>
          <cx:pt idx="2066">13</cx:pt>
          <cx:pt idx="2067">13</cx:pt>
          <cx:pt idx="2068">13</cx:pt>
          <cx:pt idx="2069">13</cx:pt>
          <cx:pt idx="2070">13</cx:pt>
          <cx:pt idx="2071">13</cx:pt>
          <cx:pt idx="2072">13</cx:pt>
          <cx:pt idx="2073">13</cx:pt>
          <cx:pt idx="2074">13</cx:pt>
          <cx:pt idx="2075">13</cx:pt>
          <cx:pt idx="2076">13</cx:pt>
          <cx:pt idx="2077">13</cx:pt>
          <cx:pt idx="2078">13</cx:pt>
          <cx:pt idx="2079">13</cx:pt>
          <cx:pt idx="2080">13</cx:pt>
          <cx:pt idx="2081">13</cx:pt>
          <cx:pt idx="2082">13</cx:pt>
          <cx:pt idx="2083">13</cx:pt>
          <cx:pt idx="2084">13</cx:pt>
          <cx:pt idx="2085">13</cx:pt>
          <cx:pt idx="2086">13</cx:pt>
          <cx:pt idx="2087">13</cx:pt>
          <cx:pt idx="2088">13</cx:pt>
          <cx:pt idx="2089">13</cx:pt>
          <cx:pt idx="2090">13</cx:pt>
          <cx:pt idx="2091">13</cx:pt>
          <cx:pt idx="2092">13</cx:pt>
          <cx:pt idx="2093">13</cx:pt>
          <cx:pt idx="2094">13</cx:pt>
          <cx:pt idx="2095">13</cx:pt>
          <cx:pt idx="2096">13</cx:pt>
          <cx:pt idx="2097">13</cx:pt>
          <cx:pt idx="2098">13</cx:pt>
          <cx:pt idx="2099">13</cx:pt>
          <cx:pt idx="2100">13</cx:pt>
          <cx:pt idx="2101">13</cx:pt>
          <cx:pt idx="2102">13</cx:pt>
          <cx:pt idx="2103">13</cx:pt>
          <cx:pt idx="2104">13</cx:pt>
          <cx:pt idx="2105">13</cx:pt>
          <cx:pt idx="2106">13</cx:pt>
          <cx:pt idx="2107">13</cx:pt>
          <cx:pt idx="2108">13</cx:pt>
          <cx:pt idx="2109">13</cx:pt>
          <cx:pt idx="2110">13</cx:pt>
          <cx:pt idx="2111">13</cx:pt>
          <cx:pt idx="2112">13</cx:pt>
          <cx:pt idx="2113">13</cx:pt>
          <cx:pt idx="2114">13</cx:pt>
          <cx:pt idx="2115">13</cx:pt>
          <cx:pt idx="2116">13</cx:pt>
          <cx:pt idx="2117">13</cx:pt>
          <cx:pt idx="2118">13</cx:pt>
          <cx:pt idx="2119">13</cx:pt>
          <cx:pt idx="2120">13</cx:pt>
          <cx:pt idx="2121">13</cx:pt>
          <cx:pt idx="2122">13</cx:pt>
          <cx:pt idx="2123">13</cx:pt>
          <cx:pt idx="2124">13</cx:pt>
          <cx:pt idx="2125">13</cx:pt>
          <cx:pt idx="2126">13</cx:pt>
          <cx:pt idx="2127">13</cx:pt>
          <cx:pt idx="2128">13</cx:pt>
          <cx:pt idx="2129">13</cx:pt>
          <cx:pt idx="2130">13</cx:pt>
          <cx:pt idx="2131">13</cx:pt>
          <cx:pt idx="2132">13</cx:pt>
          <cx:pt idx="2133">13</cx:pt>
          <cx:pt idx="2134">13</cx:pt>
          <cx:pt idx="2135">13</cx:pt>
          <cx:pt idx="2136">13</cx:pt>
          <cx:pt idx="2137">13</cx:pt>
          <cx:pt idx="2138">13</cx:pt>
          <cx:pt idx="2139">13</cx:pt>
          <cx:pt idx="2140">13</cx:pt>
          <cx:pt idx="2141">13</cx:pt>
          <cx:pt idx="2142">13</cx:pt>
          <cx:pt idx="2143">13</cx:pt>
          <cx:pt idx="2144">13</cx:pt>
          <cx:pt idx="2145">13</cx:pt>
          <cx:pt idx="2146">13</cx:pt>
          <cx:pt idx="2147">13</cx:pt>
          <cx:pt idx="2148">13</cx:pt>
          <cx:pt idx="2149">13</cx:pt>
          <cx:pt idx="2150">13</cx:pt>
          <cx:pt idx="2151">13</cx:pt>
          <cx:pt idx="2152">13</cx:pt>
          <cx:pt idx="2153">13</cx:pt>
          <cx:pt idx="2154">13</cx:pt>
          <cx:pt idx="2155">13</cx:pt>
          <cx:pt idx="2156">13</cx:pt>
          <cx:pt idx="2157">13</cx:pt>
          <cx:pt idx="2158">13</cx:pt>
          <cx:pt idx="2159">13</cx:pt>
          <cx:pt idx="2160">13</cx:pt>
          <cx:pt idx="2161">13</cx:pt>
          <cx:pt idx="2162">13</cx:pt>
          <cx:pt idx="2163">13</cx:pt>
          <cx:pt idx="2164">13</cx:pt>
          <cx:pt idx="2165">13</cx:pt>
          <cx:pt idx="2166">13</cx:pt>
          <cx:pt idx="2167">13</cx:pt>
          <cx:pt idx="2168">13</cx:pt>
          <cx:pt idx="2169">13</cx:pt>
          <cx:pt idx="2170">13</cx:pt>
          <cx:pt idx="2171">13</cx:pt>
          <cx:pt idx="2172">13</cx:pt>
          <cx:pt idx="2173">13</cx:pt>
          <cx:pt idx="2174">13</cx:pt>
          <cx:pt idx="2175">13</cx:pt>
          <cx:pt idx="2176">13</cx:pt>
          <cx:pt idx="2177">13</cx:pt>
          <cx:pt idx="2178">13</cx:pt>
          <cx:pt idx="2179">13</cx:pt>
          <cx:pt idx="2180">13</cx:pt>
          <cx:pt idx="2181">13</cx:pt>
          <cx:pt idx="2182">13</cx:pt>
          <cx:pt idx="2183">13</cx:pt>
          <cx:pt idx="2184">13</cx:pt>
          <cx:pt idx="2185">13</cx:pt>
          <cx:pt idx="2186">13</cx:pt>
          <cx:pt idx="2187">13</cx:pt>
          <cx:pt idx="2188">13</cx:pt>
          <cx:pt idx="2189">13</cx:pt>
          <cx:pt idx="2190">13</cx:pt>
          <cx:pt idx="2191">13</cx:pt>
          <cx:pt idx="2192">13</cx:pt>
          <cx:pt idx="2193">13</cx:pt>
          <cx:pt idx="2194">13</cx:pt>
          <cx:pt idx="2195">13</cx:pt>
          <cx:pt idx="2196">13</cx:pt>
          <cx:pt idx="2197">13</cx:pt>
          <cx:pt idx="2198">13</cx:pt>
          <cx:pt idx="2199">13</cx:pt>
          <cx:pt idx="2200">13</cx:pt>
          <cx:pt idx="2201">13</cx:pt>
          <cx:pt idx="2202">13</cx:pt>
          <cx:pt idx="2203">13</cx:pt>
          <cx:pt idx="2204">13</cx:pt>
          <cx:pt idx="2205">13</cx:pt>
          <cx:pt idx="2206">13</cx:pt>
          <cx:pt idx="2207">13</cx:pt>
          <cx:pt idx="2208">13</cx:pt>
          <cx:pt idx="2209">13</cx:pt>
          <cx:pt idx="2210">13</cx:pt>
          <cx:pt idx="2211">13</cx:pt>
          <cx:pt idx="2212">13</cx:pt>
          <cx:pt idx="2213">13</cx:pt>
          <cx:pt idx="2214">13</cx:pt>
          <cx:pt idx="2215">13</cx:pt>
          <cx:pt idx="2216">13</cx:pt>
          <cx:pt idx="2217">13</cx:pt>
          <cx:pt idx="2218">13</cx:pt>
          <cx:pt idx="2219">13</cx:pt>
          <cx:pt idx="2220">13</cx:pt>
          <cx:pt idx="2221">13</cx:pt>
          <cx:pt idx="2222">13</cx:pt>
          <cx:pt idx="2223">13</cx:pt>
          <cx:pt idx="2224">13</cx:pt>
          <cx:pt idx="2225">13</cx:pt>
          <cx:pt idx="2226">13</cx:pt>
          <cx:pt idx="2227">13</cx:pt>
          <cx:pt idx="2228">13</cx:pt>
          <cx:pt idx="2229">13</cx:pt>
          <cx:pt idx="2230">13</cx:pt>
          <cx:pt idx="2231">13</cx:pt>
          <cx:pt idx="2232">13</cx:pt>
          <cx:pt idx="2233">13</cx:pt>
          <cx:pt idx="2234">13</cx:pt>
          <cx:pt idx="2235">13</cx:pt>
          <cx:pt idx="2236">13</cx:pt>
          <cx:pt idx="2237">13</cx:pt>
          <cx:pt idx="2238">13</cx:pt>
          <cx:pt idx="2239">13</cx:pt>
          <cx:pt idx="2240">13</cx:pt>
          <cx:pt idx="2241">13</cx:pt>
          <cx:pt idx="2242">13</cx:pt>
          <cx:pt idx="2243">13</cx:pt>
          <cx:pt idx="2244">13</cx:pt>
          <cx:pt idx="2245">13</cx:pt>
          <cx:pt idx="2246">13</cx:pt>
          <cx:pt idx="2247">13</cx:pt>
          <cx:pt idx="2248">13</cx:pt>
          <cx:pt idx="2249">13</cx:pt>
          <cx:pt idx="2250">13</cx:pt>
          <cx:pt idx="2251">13</cx:pt>
          <cx:pt idx="2252">13</cx:pt>
          <cx:pt idx="2253">13</cx:pt>
          <cx:pt idx="2254">13</cx:pt>
          <cx:pt idx="2255">13</cx:pt>
          <cx:pt idx="2256">13</cx:pt>
          <cx:pt idx="2257">13</cx:pt>
          <cx:pt idx="2258">13</cx:pt>
          <cx:pt idx="2259">13</cx:pt>
          <cx:pt idx="2260">13</cx:pt>
          <cx:pt idx="2261">13</cx:pt>
          <cx:pt idx="2262">13</cx:pt>
          <cx:pt idx="2263">13</cx:pt>
          <cx:pt idx="2264">13</cx:pt>
          <cx:pt idx="2265">13</cx:pt>
          <cx:pt idx="2266">13</cx:pt>
          <cx:pt idx="2267">13</cx:pt>
          <cx:pt idx="2268">13</cx:pt>
          <cx:pt idx="2269">13</cx:pt>
          <cx:pt idx="2270">13</cx:pt>
          <cx:pt idx="2271">13</cx:pt>
          <cx:pt idx="2272">13</cx:pt>
          <cx:pt idx="2273">13</cx:pt>
          <cx:pt idx="2274">13</cx:pt>
          <cx:pt idx="2275">13</cx:pt>
          <cx:pt idx="2276">13</cx:pt>
          <cx:pt idx="2277">13</cx:pt>
          <cx:pt idx="2278">13</cx:pt>
          <cx:pt idx="2279">13</cx:pt>
          <cx:pt idx="2280">13</cx:pt>
          <cx:pt idx="2281">13</cx:pt>
          <cx:pt idx="2282">13</cx:pt>
          <cx:pt idx="2283">13</cx:pt>
          <cx:pt idx="2284">13</cx:pt>
          <cx:pt idx="2285">13</cx:pt>
          <cx:pt idx="2286">13</cx:pt>
          <cx:pt idx="2287">13</cx:pt>
          <cx:pt idx="2288">13</cx:pt>
          <cx:pt idx="2289">13</cx:pt>
          <cx:pt idx="2290">13</cx:pt>
          <cx:pt idx="2291">13</cx:pt>
          <cx:pt idx="2292">13</cx:pt>
          <cx:pt idx="2293">13</cx:pt>
          <cx:pt idx="2294">13</cx:pt>
          <cx:pt idx="2295">13</cx:pt>
          <cx:pt idx="2296">13</cx:pt>
          <cx:pt idx="2297">13</cx:pt>
          <cx:pt idx="2298">13</cx:pt>
          <cx:pt idx="2299">13</cx:pt>
          <cx:pt idx="2300">13</cx:pt>
          <cx:pt idx="2301">13</cx:pt>
          <cx:pt idx="2302">13</cx:pt>
          <cx:pt idx="2303">13</cx:pt>
          <cx:pt idx="2304">13</cx:pt>
          <cx:pt idx="2305">13</cx:pt>
          <cx:pt idx="2306">13</cx:pt>
          <cx:pt idx="2307">13</cx:pt>
          <cx:pt idx="2308">13</cx:pt>
          <cx:pt idx="2309">13</cx:pt>
          <cx:pt idx="2310">13</cx:pt>
          <cx:pt idx="2311">13</cx:pt>
          <cx:pt idx="2312">13</cx:pt>
          <cx:pt idx="2313">13</cx:pt>
          <cx:pt idx="2314">13</cx:pt>
          <cx:pt idx="2315">13</cx:pt>
          <cx:pt idx="2316">13</cx:pt>
          <cx:pt idx="2317">13</cx:pt>
          <cx:pt idx="2318">13</cx:pt>
          <cx:pt idx="2319">13</cx:pt>
          <cx:pt idx="2320">13</cx:pt>
          <cx:pt idx="2321">13</cx:pt>
          <cx:pt idx="2322">13</cx:pt>
          <cx:pt idx="2323">13</cx:pt>
          <cx:pt idx="2324">13</cx:pt>
          <cx:pt idx="2325">13</cx:pt>
          <cx:pt idx="2326">13</cx:pt>
          <cx:pt idx="2327">13</cx:pt>
          <cx:pt idx="2328">13</cx:pt>
          <cx:pt idx="2329">13</cx:pt>
          <cx:pt idx="2330">13</cx:pt>
          <cx:pt idx="2331">13</cx:pt>
          <cx:pt idx="2332">13</cx:pt>
          <cx:pt idx="2333">13</cx:pt>
          <cx:pt idx="2334">13</cx:pt>
          <cx:pt idx="2335">13</cx:pt>
          <cx:pt idx="2336">13</cx:pt>
          <cx:pt idx="2337">13</cx:pt>
          <cx:pt idx="2338">13</cx:pt>
          <cx:pt idx="2339">13</cx:pt>
          <cx:pt idx="2340">13</cx:pt>
          <cx:pt idx="2341">13</cx:pt>
          <cx:pt idx="2342">13</cx:pt>
          <cx:pt idx="2343">13</cx:pt>
          <cx:pt idx="2344">13</cx:pt>
          <cx:pt idx="2345">13</cx:pt>
          <cx:pt idx="2346">13</cx:pt>
          <cx:pt idx="2347">13</cx:pt>
          <cx:pt idx="2348">13</cx:pt>
          <cx:pt idx="2349">13</cx:pt>
          <cx:pt idx="2350">13</cx:pt>
          <cx:pt idx="2351">13</cx:pt>
          <cx:pt idx="2352">13</cx:pt>
          <cx:pt idx="2353">13</cx:pt>
          <cx:pt idx="2354">13</cx:pt>
          <cx:pt idx="2355">13</cx:pt>
          <cx:pt idx="2356">13</cx:pt>
          <cx:pt idx="2357">13</cx:pt>
          <cx:pt idx="2358">13</cx:pt>
          <cx:pt idx="2359">13</cx:pt>
          <cx:pt idx="2360">13</cx:pt>
          <cx:pt idx="2361">13</cx:pt>
          <cx:pt idx="2362">13</cx:pt>
          <cx:pt idx="2363">13</cx:pt>
          <cx:pt idx="2364">13</cx:pt>
          <cx:pt idx="2365">13</cx:pt>
          <cx:pt idx="2366">13</cx:pt>
          <cx:pt idx="2367">13</cx:pt>
          <cx:pt idx="2368">13</cx:pt>
          <cx:pt idx="2369">13</cx:pt>
          <cx:pt idx="2370">13</cx:pt>
          <cx:pt idx="2371">13</cx:pt>
          <cx:pt idx="2372">13</cx:pt>
          <cx:pt idx="2373">13</cx:pt>
          <cx:pt idx="2374">13</cx:pt>
          <cx:pt idx="2375">13</cx:pt>
          <cx:pt idx="2376">13</cx:pt>
          <cx:pt idx="2377">13</cx:pt>
          <cx:pt idx="2378">13</cx:pt>
          <cx:pt idx="2379">13</cx:pt>
          <cx:pt idx="2380">13</cx:pt>
          <cx:pt idx="2381">13</cx:pt>
          <cx:pt idx="2382">13</cx:pt>
          <cx:pt idx="2383">13</cx:pt>
          <cx:pt idx="2384">13</cx:pt>
          <cx:pt idx="2385">13</cx:pt>
          <cx:pt idx="2386">13</cx:pt>
          <cx:pt idx="2387">13</cx:pt>
          <cx:pt idx="2388">13</cx:pt>
          <cx:pt idx="2389">13</cx:pt>
          <cx:pt idx="2390">13</cx:pt>
          <cx:pt idx="2391">13</cx:pt>
          <cx:pt idx="2392">13</cx:pt>
          <cx:pt idx="2393">13</cx:pt>
          <cx:pt idx="2394">13</cx:pt>
          <cx:pt idx="2395">13</cx:pt>
          <cx:pt idx="2396">13</cx:pt>
          <cx:pt idx="2397">13</cx:pt>
          <cx:pt idx="2398">13</cx:pt>
          <cx:pt idx="2399">13</cx:pt>
          <cx:pt idx="2400">13</cx:pt>
          <cx:pt idx="2401">13</cx:pt>
          <cx:pt idx="2402">13</cx:pt>
          <cx:pt idx="2403">13</cx:pt>
          <cx:pt idx="2404">13</cx:pt>
          <cx:pt idx="2405">13</cx:pt>
          <cx:pt idx="2406">13</cx:pt>
          <cx:pt idx="2407">13</cx:pt>
          <cx:pt idx="2408">13</cx:pt>
          <cx:pt idx="2409">13</cx:pt>
          <cx:pt idx="2410">13</cx:pt>
          <cx:pt idx="2411">13</cx:pt>
          <cx:pt idx="2412">13</cx:pt>
          <cx:pt idx="2413">13</cx:pt>
          <cx:pt idx="2414">13</cx:pt>
          <cx:pt idx="2415">13</cx:pt>
          <cx:pt idx="2416">13</cx:pt>
          <cx:pt idx="2417">13</cx:pt>
          <cx:pt idx="2418">13</cx:pt>
          <cx:pt idx="2419">13</cx:pt>
          <cx:pt idx="2420">13</cx:pt>
          <cx:pt idx="2421">13</cx:pt>
          <cx:pt idx="2422">13</cx:pt>
          <cx:pt idx="2423">13</cx:pt>
          <cx:pt idx="2424">13</cx:pt>
          <cx:pt idx="2425">13</cx:pt>
          <cx:pt idx="2426">13</cx:pt>
          <cx:pt idx="2427">13</cx:pt>
          <cx:pt idx="2428">13</cx:pt>
          <cx:pt idx="2429">13</cx:pt>
          <cx:pt idx="2430">13</cx:pt>
          <cx:pt idx="2431">13</cx:pt>
          <cx:pt idx="2432">13</cx:pt>
          <cx:pt idx="2433">13</cx:pt>
          <cx:pt idx="2434">13</cx:pt>
          <cx:pt idx="2435">13</cx:pt>
          <cx:pt idx="2436">13</cx:pt>
          <cx:pt idx="2437">13</cx:pt>
          <cx:pt idx="2438">13</cx:pt>
          <cx:pt idx="2439">13</cx:pt>
          <cx:pt idx="2440">13</cx:pt>
          <cx:pt idx="2441">13</cx:pt>
          <cx:pt idx="2442">13</cx:pt>
          <cx:pt idx="2443">13</cx:pt>
          <cx:pt idx="2444">13</cx:pt>
          <cx:pt idx="2445">13</cx:pt>
          <cx:pt idx="2446">13</cx:pt>
          <cx:pt idx="2447">13</cx:pt>
          <cx:pt idx="2448">13</cx:pt>
          <cx:pt idx="2449">13</cx:pt>
          <cx:pt idx="2450">13</cx:pt>
          <cx:pt idx="2451">13</cx:pt>
          <cx:pt idx="2452">13</cx:pt>
          <cx:pt idx="2453">13</cx:pt>
          <cx:pt idx="2454">13</cx:pt>
          <cx:pt idx="2455">13</cx:pt>
          <cx:pt idx="2456">13</cx:pt>
          <cx:pt idx="2457">13</cx:pt>
          <cx:pt idx="2458">13</cx:pt>
          <cx:pt idx="2459">13</cx:pt>
          <cx:pt idx="2460">13</cx:pt>
          <cx:pt idx="2461">13</cx:pt>
          <cx:pt idx="2462">13</cx:pt>
          <cx:pt idx="2463">13</cx:pt>
          <cx:pt idx="2464">13</cx:pt>
          <cx:pt idx="2465">13</cx:pt>
          <cx:pt idx="2466">13</cx:pt>
          <cx:pt idx="2467">13</cx:pt>
          <cx:pt idx="2468">13</cx:pt>
          <cx:pt idx="2469">13</cx:pt>
          <cx:pt idx="2470">13</cx:pt>
          <cx:pt idx="2471">13</cx:pt>
          <cx:pt idx="2472">13</cx:pt>
          <cx:pt idx="2473">13</cx:pt>
          <cx:pt idx="2474">13</cx:pt>
          <cx:pt idx="2475">13</cx:pt>
          <cx:pt idx="2476">13</cx:pt>
          <cx:pt idx="2477">13</cx:pt>
          <cx:pt idx="2478">13</cx:pt>
          <cx:pt idx="2479">13</cx:pt>
          <cx:pt idx="2480">13</cx:pt>
          <cx:pt idx="2481">13</cx:pt>
          <cx:pt idx="2482">13</cx:pt>
          <cx:pt idx="2483">13</cx:pt>
          <cx:pt idx="2484">13</cx:pt>
          <cx:pt idx="2485">13</cx:pt>
          <cx:pt idx="2486">13</cx:pt>
          <cx:pt idx="2487">13</cx:pt>
          <cx:pt idx="2488">13</cx:pt>
          <cx:pt idx="2489">13</cx:pt>
          <cx:pt idx="2490">13</cx:pt>
          <cx:pt idx="2491">13</cx:pt>
          <cx:pt idx="2492">13</cx:pt>
          <cx:pt idx="2493">13</cx:pt>
          <cx:pt idx="2494">13</cx:pt>
          <cx:pt idx="2495">13</cx:pt>
          <cx:pt idx="2496">13</cx:pt>
          <cx:pt idx="2497">13</cx:pt>
          <cx:pt idx="2498">13</cx:pt>
          <cx:pt idx="2499">13</cx:pt>
          <cx:pt idx="2500">13</cx:pt>
          <cx:pt idx="2501">13</cx:pt>
          <cx:pt idx="2502">13</cx:pt>
          <cx:pt idx="2503">13</cx:pt>
          <cx:pt idx="2504">13</cx:pt>
          <cx:pt idx="2505">13</cx:pt>
          <cx:pt idx="2506">13</cx:pt>
          <cx:pt idx="2507">13</cx:pt>
          <cx:pt idx="2508">13</cx:pt>
          <cx:pt idx="2509">13</cx:pt>
          <cx:pt idx="2510">13</cx:pt>
          <cx:pt idx="2511">13</cx:pt>
          <cx:pt idx="2512">13</cx:pt>
          <cx:pt idx="2513">13</cx:pt>
          <cx:pt idx="2514">13</cx:pt>
          <cx:pt idx="2515">13</cx:pt>
          <cx:pt idx="2516">13</cx:pt>
          <cx:pt idx="2517">13</cx:pt>
          <cx:pt idx="2518">13</cx:pt>
          <cx:pt idx="2519">13</cx:pt>
          <cx:pt idx="2520">13</cx:pt>
          <cx:pt idx="2521">13</cx:pt>
          <cx:pt idx="2522">13</cx:pt>
          <cx:pt idx="2523">13</cx:pt>
          <cx:pt idx="2524">13</cx:pt>
          <cx:pt idx="2525">13</cx:pt>
          <cx:pt idx="2526">13</cx:pt>
          <cx:pt idx="2527">13</cx:pt>
          <cx:pt idx="2528">13</cx:pt>
          <cx:pt idx="2529">13</cx:pt>
          <cx:pt idx="2530">13</cx:pt>
          <cx:pt idx="2531">13</cx:pt>
          <cx:pt idx="2532">13</cx:pt>
          <cx:pt idx="2533">13</cx:pt>
          <cx:pt idx="2534">13</cx:pt>
          <cx:pt idx="2535">13</cx:pt>
          <cx:pt idx="2536">13</cx:pt>
          <cx:pt idx="2537">13</cx:pt>
          <cx:pt idx="2538">13</cx:pt>
          <cx:pt idx="2539">13</cx:pt>
          <cx:pt idx="2540">13</cx:pt>
          <cx:pt idx="2541">13</cx:pt>
          <cx:pt idx="2542">13</cx:pt>
          <cx:pt idx="2543">13</cx:pt>
          <cx:pt idx="2544">13</cx:pt>
          <cx:pt idx="2545">13</cx:pt>
          <cx:pt idx="2546">13</cx:pt>
          <cx:pt idx="2547">13</cx:pt>
          <cx:pt idx="2548">13</cx:pt>
          <cx:pt idx="2549">13</cx:pt>
          <cx:pt idx="2550">13</cx:pt>
          <cx:pt idx="2551">13</cx:pt>
          <cx:pt idx="2552">13</cx:pt>
          <cx:pt idx="2553">13</cx:pt>
          <cx:pt idx="2554">13</cx:pt>
          <cx:pt idx="2555">13</cx:pt>
          <cx:pt idx="2556">13</cx:pt>
          <cx:pt idx="2557">13</cx:pt>
          <cx:pt idx="2558">13</cx:pt>
          <cx:pt idx="2559">13</cx:pt>
          <cx:pt idx="2560">13</cx:pt>
          <cx:pt idx="2561">13</cx:pt>
          <cx:pt idx="2562">13</cx:pt>
          <cx:pt idx="2563">13</cx:pt>
          <cx:pt idx="2564">13</cx:pt>
          <cx:pt idx="2565">13</cx:pt>
          <cx:pt idx="2566">13</cx:pt>
          <cx:pt idx="2567">13</cx:pt>
          <cx:pt idx="2568">13</cx:pt>
          <cx:pt idx="2569">13</cx:pt>
          <cx:pt idx="2570">13</cx:pt>
          <cx:pt idx="2571">13</cx:pt>
          <cx:pt idx="2572">13</cx:pt>
          <cx:pt idx="2573">13</cx:pt>
          <cx:pt idx="2574">13</cx:pt>
          <cx:pt idx="2575">13</cx:pt>
          <cx:pt idx="2576">13</cx:pt>
          <cx:pt idx="2577">13</cx:pt>
          <cx:pt idx="2578">13</cx:pt>
          <cx:pt idx="2579">13</cx:pt>
          <cx:pt idx="2580">13</cx:pt>
          <cx:pt idx="2581">13</cx:pt>
          <cx:pt idx="2582">13</cx:pt>
          <cx:pt idx="2583">13</cx:pt>
          <cx:pt idx="2584">13</cx:pt>
          <cx:pt idx="2585">13</cx:pt>
          <cx:pt idx="2586">13</cx:pt>
          <cx:pt idx="2587">13</cx:pt>
          <cx:pt idx="2588">13</cx:pt>
          <cx:pt idx="2589">13</cx:pt>
          <cx:pt idx="2590">13</cx:pt>
          <cx:pt idx="2591">13</cx:pt>
          <cx:pt idx="2592">13</cx:pt>
          <cx:pt idx="2593">13</cx:pt>
          <cx:pt idx="2594">13</cx:pt>
          <cx:pt idx="2595">13</cx:pt>
          <cx:pt idx="2596">13</cx:pt>
          <cx:pt idx="2597">13</cx:pt>
          <cx:pt idx="2598">13</cx:pt>
          <cx:pt idx="2599">13</cx:pt>
          <cx:pt idx="2600">13</cx:pt>
          <cx:pt idx="2601">13</cx:pt>
          <cx:pt idx="2602">13</cx:pt>
          <cx:pt idx="2603">12</cx:pt>
          <cx:pt idx="2604">11</cx:pt>
          <cx:pt idx="2605">10</cx:pt>
          <cx:pt idx="2606">9</cx:pt>
          <cx:pt idx="2607">8</cx:pt>
          <cx:pt idx="2608">3</cx:pt>
          <cx:pt idx="2609">3</cx:pt>
          <cx:pt idx="2610">3</cx:pt>
          <cx:pt idx="2611">3</cx:pt>
          <cx:pt idx="2612">3</cx:pt>
          <cx:pt idx="2613">1</cx:pt>
          <cx:pt idx="2614">1</cx:pt>
          <cx:pt idx="2615">0</cx:pt>
        </cx:lvl>
      </cx:numDim>
    </cx:data>
  </cx:chartData>
  <cx:chart>
    <cx:plotArea>
      <cx:plotAreaRegion>
        <cx:series layoutId="clusteredColumn" uniqueId="{27F1C436-756D-4A95-9497-5CC485064A3B}">
          <cx:tx>
            <cx:txData>
              <cx:f>'4.'!$O$1</cx:f>
              <cx:v>最大回撤的天数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  <cx:axis id="1">
        <cx:val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</cx:plotArea>
  </cx:chart>
</cx:chartSpace>
</file>

<file path=ppt/charts/chartEx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4.'!$Z$2:$Z$615</cx:f>
        <cx:lvl ptCount="614" formatCode="G/通用格式">
          <cx:pt idx="0">8</cx:pt>
          <cx:pt idx="1">28</cx:pt>
          <cx:pt idx="2">15</cx:pt>
          <cx:pt idx="3">58</cx:pt>
          <cx:pt idx="4">1</cx:pt>
          <cx:pt idx="5">44</cx:pt>
          <cx:pt idx="6">42</cx:pt>
          <cx:pt idx="7">29</cx:pt>
          <cx:pt idx="8">89</cx:pt>
          <cx:pt idx="9">1</cx:pt>
          <cx:pt idx="10">11</cx:pt>
          <cx:pt idx="11">1</cx:pt>
          <cx:pt idx="12">37</cx:pt>
          <cx:pt idx="13">95</cx:pt>
          <cx:pt idx="14">115</cx:pt>
          <cx:pt idx="15">68</cx:pt>
          <cx:pt idx="16">66</cx:pt>
          <cx:pt idx="17">31</cx:pt>
          <cx:pt idx="18">6</cx:pt>
          <cx:pt idx="19">83</cx:pt>
          <cx:pt idx="20">15</cx:pt>
          <cx:pt idx="21">35</cx:pt>
          <cx:pt idx="22">11</cx:pt>
          <cx:pt idx="23">18</cx:pt>
          <cx:pt idx="24">78</cx:pt>
          <cx:pt idx="25">8</cx:pt>
          <cx:pt idx="26">189</cx:pt>
          <cx:pt idx="27">6</cx:pt>
          <cx:pt idx="28">196</cx:pt>
          <cx:pt idx="29">46</cx:pt>
          <cx:pt idx="30">193</cx:pt>
          <cx:pt idx="31">9</cx:pt>
          <cx:pt idx="32">12</cx:pt>
          <cx:pt idx="33">4</cx:pt>
          <cx:pt idx="34">11</cx:pt>
          <cx:pt idx="35">173</cx:pt>
          <cx:pt idx="36">192</cx:pt>
          <cx:pt idx="37">1</cx:pt>
          <cx:pt idx="38">14</cx:pt>
          <cx:pt idx="39">2</cx:pt>
          <cx:pt idx="40">188</cx:pt>
          <cx:pt idx="41">249</cx:pt>
          <cx:pt idx="42">9</cx:pt>
          <cx:pt idx="43">13</cx:pt>
          <cx:pt idx="44">254</cx:pt>
          <cx:pt idx="45">6</cx:pt>
          <cx:pt idx="46">212</cx:pt>
          <cx:pt idx="47">78</cx:pt>
          <cx:pt idx="48">4</cx:pt>
          <cx:pt idx="49">8</cx:pt>
          <cx:pt idx="50">227</cx:pt>
          <cx:pt idx="51">79</cx:pt>
          <cx:pt idx="52">44</cx:pt>
          <cx:pt idx="53">44</cx:pt>
          <cx:pt idx="54">82</cx:pt>
          <cx:pt idx="55">7</cx:pt>
          <cx:pt idx="56">63</cx:pt>
          <cx:pt idx="57">8</cx:pt>
          <cx:pt idx="58">75</cx:pt>
          <cx:pt idx="59">89</cx:pt>
          <cx:pt idx="60">11</cx:pt>
          <cx:pt idx="61">58</cx:pt>
          <cx:pt idx="62">327</cx:pt>
          <cx:pt idx="63">120</cx:pt>
          <cx:pt idx="64">2</cx:pt>
          <cx:pt idx="65">56</cx:pt>
          <cx:pt idx="66">2</cx:pt>
          <cx:pt idx="67">44</cx:pt>
          <cx:pt idx="68">117</cx:pt>
          <cx:pt idx="69">3</cx:pt>
          <cx:pt idx="70">45</cx:pt>
          <cx:pt idx="71">6</cx:pt>
          <cx:pt idx="72">102</cx:pt>
          <cx:pt idx="73">14</cx:pt>
          <cx:pt idx="74">62</cx:pt>
          <cx:pt idx="75">7</cx:pt>
          <cx:pt idx="76">16</cx:pt>
          <cx:pt idx="77">21</cx:pt>
          <cx:pt idx="78">66</cx:pt>
          <cx:pt idx="79">71</cx:pt>
          <cx:pt idx="80">50</cx:pt>
          <cx:pt idx="81">75</cx:pt>
          <cx:pt idx="82">13</cx:pt>
          <cx:pt idx="83">68</cx:pt>
          <cx:pt idx="84">58</cx:pt>
          <cx:pt idx="85">37</cx:pt>
          <cx:pt idx="86">1</cx:pt>
          <cx:pt idx="87">5</cx:pt>
          <cx:pt idx="88">150</cx:pt>
          <cx:pt idx="89">43</cx:pt>
          <cx:pt idx="90">49</cx:pt>
          <cx:pt idx="91">104</cx:pt>
          <cx:pt idx="92">11</cx:pt>
          <cx:pt idx="93">43</cx:pt>
          <cx:pt idx="94">28</cx:pt>
          <cx:pt idx="95">6</cx:pt>
          <cx:pt idx="96">12</cx:pt>
          <cx:pt idx="97">46</cx:pt>
          <cx:pt idx="98">128</cx:pt>
          <cx:pt idx="99">127</cx:pt>
          <cx:pt idx="100">130</cx:pt>
          <cx:pt idx="101">11</cx:pt>
          <cx:pt idx="102">105</cx:pt>
          <cx:pt idx="103">14</cx:pt>
          <cx:pt idx="104">106</cx:pt>
          <cx:pt idx="105">92</cx:pt>
          <cx:pt idx="106">33</cx:pt>
          <cx:pt idx="107">52</cx:pt>
          <cx:pt idx="108">78</cx:pt>
          <cx:pt idx="109">67</cx:pt>
          <cx:pt idx="110">20</cx:pt>
          <cx:pt idx="111">8</cx:pt>
          <cx:pt idx="112">67</cx:pt>
          <cx:pt idx="113">122</cx:pt>
          <cx:pt idx="114">60</cx:pt>
          <cx:pt idx="115">23</cx:pt>
          <cx:pt idx="116">1</cx:pt>
          <cx:pt idx="117">182</cx:pt>
          <cx:pt idx="118">21</cx:pt>
          <cx:pt idx="119">6</cx:pt>
          <cx:pt idx="120">27</cx:pt>
          <cx:pt idx="121">193</cx:pt>
          <cx:pt idx="122">1</cx:pt>
          <cx:pt idx="123">1</cx:pt>
          <cx:pt idx="124">219</cx:pt>
          <cx:pt idx="125">18</cx:pt>
          <cx:pt idx="126">6</cx:pt>
          <cx:pt idx="127">50</cx:pt>
          <cx:pt idx="128">164</cx:pt>
          <cx:pt idx="129">47</cx:pt>
          <cx:pt idx="130">119</cx:pt>
          <cx:pt idx="131">55</cx:pt>
          <cx:pt idx="132">130</cx:pt>
          <cx:pt idx="133">89</cx:pt>
          <cx:pt idx="134">121</cx:pt>
          <cx:pt idx="135">130</cx:pt>
          <cx:pt idx="136">169</cx:pt>
          <cx:pt idx="137">216</cx:pt>
          <cx:pt idx="138">266</cx:pt>
          <cx:pt idx="139">210</cx:pt>
          <cx:pt idx="140">6</cx:pt>
          <cx:pt idx="141">220</cx:pt>
          <cx:pt idx="142">89</cx:pt>
          <cx:pt idx="143">6</cx:pt>
          <cx:pt idx="144">296</cx:pt>
          <cx:pt idx="145">399</cx:pt>
          <cx:pt idx="146">421</cx:pt>
          <cx:pt idx="147">433</cx:pt>
          <cx:pt idx="148">305</cx:pt>
          <cx:pt idx="149">311</cx:pt>
          <cx:pt idx="150">315</cx:pt>
          <cx:pt idx="151">13</cx:pt>
          <cx:pt idx="152">434</cx:pt>
          <cx:pt idx="153">311</cx:pt>
          <cx:pt idx="154">3</cx:pt>
          <cx:pt idx="155">337</cx:pt>
          <cx:pt idx="156">368</cx:pt>
          <cx:pt idx="157">3</cx:pt>
          <cx:pt idx="158">7</cx:pt>
          <cx:pt idx="159">17</cx:pt>
          <cx:pt idx="160">426</cx:pt>
          <cx:pt idx="161">32</cx:pt>
          <cx:pt idx="162">14</cx:pt>
          <cx:pt idx="163">26</cx:pt>
          <cx:pt idx="164">33</cx:pt>
          <cx:pt idx="165">448</cx:pt>
          <cx:pt idx="166">434</cx:pt>
          <cx:pt idx="167">2</cx:pt>
          <cx:pt idx="168">12</cx:pt>
          <cx:pt idx="169">677</cx:pt>
          <cx:pt idx="170">419</cx:pt>
          <cx:pt idx="171">346</cx:pt>
          <cx:pt idx="172">424</cx:pt>
          <cx:pt idx="173">434</cx:pt>
          <cx:pt idx="174">422</cx:pt>
          <cx:pt idx="175">490</cx:pt>
          <cx:pt idx="176">670</cx:pt>
          <cx:pt idx="177">649</cx:pt>
          <cx:pt idx="178">552</cx:pt>
          <cx:pt idx="179">654</cx:pt>
          <cx:pt idx="180">625</cx:pt>
          <cx:pt idx="181">648</cx:pt>
          <cx:pt idx="182">572</cx:pt>
          <cx:pt idx="183">529</cx:pt>
          <cx:pt idx="184">565</cx:pt>
          <cx:pt idx="185">8</cx:pt>
          <cx:pt idx="186">538</cx:pt>
          <cx:pt idx="187">542</cx:pt>
          <cx:pt idx="188">5</cx:pt>
          <cx:pt idx="189">573</cx:pt>
          <cx:pt idx="190">644</cx:pt>
          <cx:pt idx="191">12</cx:pt>
          <cx:pt idx="192">697</cx:pt>
          <cx:pt idx="193">553</cx:pt>
          <cx:pt idx="194">562</cx:pt>
          <cx:pt idx="195">646</cx:pt>
          <cx:pt idx="196">18</cx:pt>
          <cx:pt idx="197">735</cx:pt>
          <cx:pt idx="198">18</cx:pt>
          <cx:pt idx="199">646</cx:pt>
          <cx:pt idx="200">620</cx:pt>
          <cx:pt idx="201">649</cx:pt>
          <cx:pt idx="202">2</cx:pt>
          <cx:pt idx="203">671</cx:pt>
          <cx:pt idx="204">9</cx:pt>
          <cx:pt idx="205">661</cx:pt>
          <cx:pt idx="206">16</cx:pt>
          <cx:pt idx="207">1</cx:pt>
          <cx:pt idx="208">61</cx:pt>
          <cx:pt idx="209">2</cx:pt>
          <cx:pt idx="210">2</cx:pt>
          <cx:pt idx="211">81</cx:pt>
          <cx:pt idx="212">23</cx:pt>
          <cx:pt idx="213">65</cx:pt>
          <cx:pt idx="214">2</cx:pt>
          <cx:pt idx="215">69</cx:pt>
          <cx:pt idx="216">29</cx:pt>
          <cx:pt idx="217">4</cx:pt>
          <cx:pt idx="218">2</cx:pt>
          <cx:pt idx="219">96</cx:pt>
          <cx:pt idx="220">101</cx:pt>
          <cx:pt idx="221">94</cx:pt>
          <cx:pt idx="222">95</cx:pt>
          <cx:pt idx="223">170</cx:pt>
          <cx:pt idx="224">105</cx:pt>
          <cx:pt idx="225">15</cx:pt>
          <cx:pt idx="226">121</cx:pt>
          <cx:pt idx="227">25</cx:pt>
          <cx:pt idx="228">153</cx:pt>
          <cx:pt idx="229">17</cx:pt>
          <cx:pt idx="230">112</cx:pt>
          <cx:pt idx="231">47</cx:pt>
          <cx:pt idx="232">69</cx:pt>
          <cx:pt idx="233">180</cx:pt>
          <cx:pt idx="234">59</cx:pt>
          <cx:pt idx="235">23</cx:pt>
          <cx:pt idx="236">32</cx:pt>
          <cx:pt idx="237">38</cx:pt>
          <cx:pt idx="238">139</cx:pt>
          <cx:pt idx="239">96</cx:pt>
          <cx:pt idx="240">25</cx:pt>
          <cx:pt idx="241">146</cx:pt>
          <cx:pt idx="242">109</cx:pt>
          <cx:pt idx="243">127</cx:pt>
          <cx:pt idx="244">146</cx:pt>
          <cx:pt idx="245">151</cx:pt>
          <cx:pt idx="246">8</cx:pt>
          <cx:pt idx="247">1</cx:pt>
          <cx:pt idx="248">31</cx:pt>
          <cx:pt idx="249">51</cx:pt>
          <cx:pt idx="250">33</cx:pt>
          <cx:pt idx="251">219</cx:pt>
          <cx:pt idx="252">208</cx:pt>
          <cx:pt idx="253">38</cx:pt>
          <cx:pt idx="254">66</cx:pt>
          <cx:pt idx="255">202</cx:pt>
          <cx:pt idx="256">32</cx:pt>
          <cx:pt idx="257">206</cx:pt>
          <cx:pt idx="258">3</cx:pt>
          <cx:pt idx="259">10</cx:pt>
          <cx:pt idx="260">21</cx:pt>
          <cx:pt idx="261">131</cx:pt>
          <cx:pt idx="262">1</cx:pt>
          <cx:pt idx="263">134</cx:pt>
          <cx:pt idx="264">8</cx:pt>
          <cx:pt idx="265">2</cx:pt>
          <cx:pt idx="266">81</cx:pt>
          <cx:pt idx="267">99</cx:pt>
          <cx:pt idx="268">29</cx:pt>
          <cx:pt idx="269">3</cx:pt>
          <cx:pt idx="270">89</cx:pt>
          <cx:pt idx="271">240</cx:pt>
          <cx:pt idx="272">8</cx:pt>
          <cx:pt idx="273">128</cx:pt>
          <cx:pt idx="274">51</cx:pt>
          <cx:pt idx="275">1</cx:pt>
          <cx:pt idx="276">58</cx:pt>
          <cx:pt idx="277">156</cx:pt>
          <cx:pt idx="278">73</cx:pt>
          <cx:pt idx="279">48</cx:pt>
          <cx:pt idx="280">9</cx:pt>
          <cx:pt idx="281">63</cx:pt>
          <cx:pt idx="282">69</cx:pt>
          <cx:pt idx="283">40</cx:pt>
          <cx:pt idx="284">59</cx:pt>
          <cx:pt idx="285">112</cx:pt>
          <cx:pt idx="286">95</cx:pt>
          <cx:pt idx="287">323</cx:pt>
          <cx:pt idx="288">65</cx:pt>
          <cx:pt idx="289">4</cx:pt>
          <cx:pt idx="290">106</cx:pt>
          <cx:pt idx="291">77</cx:pt>
          <cx:pt idx="292">61</cx:pt>
          <cx:pt idx="293">62</cx:pt>
          <cx:pt idx="294">34</cx:pt>
          <cx:pt idx="295">53</cx:pt>
          <cx:pt idx="296">147</cx:pt>
          <cx:pt idx="297">47</cx:pt>
          <cx:pt idx="298">77</cx:pt>
          <cx:pt idx="299">169</cx:pt>
          <cx:pt idx="300">3</cx:pt>
          <cx:pt idx="301">31</cx:pt>
          <cx:pt idx="302">1</cx:pt>
          <cx:pt idx="303">5</cx:pt>
          <cx:pt idx="304">100</cx:pt>
          <cx:pt idx="305">58</cx:pt>
          <cx:pt idx="306">56</cx:pt>
          <cx:pt idx="307">202</cx:pt>
          <cx:pt idx="308">14</cx:pt>
          <cx:pt idx="309">158</cx:pt>
          <cx:pt idx="310">166</cx:pt>
          <cx:pt idx="311">18</cx:pt>
          <cx:pt idx="312">29</cx:pt>
          <cx:pt idx="313">417</cx:pt>
          <cx:pt idx="314">46</cx:pt>
          <cx:pt idx="315">446</cx:pt>
          <cx:pt idx="316">326</cx:pt>
          <cx:pt idx="317">13</cx:pt>
          <cx:pt idx="318">9</cx:pt>
          <cx:pt idx="319">316</cx:pt>
          <cx:pt idx="320">454</cx:pt>
          <cx:pt idx="321">492</cx:pt>
          <cx:pt idx="322">40</cx:pt>
          <cx:pt idx="323">246</cx:pt>
          <cx:pt idx="324">49</cx:pt>
          <cx:pt idx="325">7</cx:pt>
          <cx:pt idx="326">46</cx:pt>
          <cx:pt idx="327">1</cx:pt>
          <cx:pt idx="328">50</cx:pt>
          <cx:pt idx="329">263</cx:pt>
          <cx:pt idx="330">5</cx:pt>
          <cx:pt idx="331">37</cx:pt>
          <cx:pt idx="332">550</cx:pt>
          <cx:pt idx="333">10</cx:pt>
          <cx:pt idx="334">38</cx:pt>
          <cx:pt idx="335">41</cx:pt>
          <cx:pt idx="336">50</cx:pt>
          <cx:pt idx="337">610</cx:pt>
          <cx:pt idx="338">43</cx:pt>
          <cx:pt idx="339">496</cx:pt>
          <cx:pt idx="340">3</cx:pt>
          <cx:pt idx="341">150</cx:pt>
          <cx:pt idx="342">109</cx:pt>
          <cx:pt idx="343">1</cx:pt>
          <cx:pt idx="344">164</cx:pt>
          <cx:pt idx="345">179</cx:pt>
          <cx:pt idx="346">154</cx:pt>
          <cx:pt idx="347">18</cx:pt>
          <cx:pt idx="348">9</cx:pt>
          <cx:pt idx="349">127</cx:pt>
          <cx:pt idx="350">23</cx:pt>
          <cx:pt idx="351">37</cx:pt>
          <cx:pt idx="352">12</cx:pt>
          <cx:pt idx="353">20</cx:pt>
          <cx:pt idx="354">61</cx:pt>
          <cx:pt idx="355">134</cx:pt>
          <cx:pt idx="356">15</cx:pt>
          <cx:pt idx="357">1</cx:pt>
          <cx:pt idx="358">14</cx:pt>
          <cx:pt idx="359">125</cx:pt>
          <cx:pt idx="360">109</cx:pt>
          <cx:pt idx="361">107</cx:pt>
          <cx:pt idx="362">160</cx:pt>
          <cx:pt idx="363">143</cx:pt>
          <cx:pt idx="364">153</cx:pt>
          <cx:pt idx="365">33</cx:pt>
          <cx:pt idx="366">162</cx:pt>
          <cx:pt idx="367">44</cx:pt>
          <cx:pt idx="368">198</cx:pt>
          <cx:pt idx="369">60</cx:pt>
          <cx:pt idx="370">33</cx:pt>
          <cx:pt idx="371">223</cx:pt>
          <cx:pt idx="372">139</cx:pt>
          <cx:pt idx="373">141</cx:pt>
          <cx:pt idx="374">287</cx:pt>
          <cx:pt idx="375">8</cx:pt>
          <cx:pt idx="376">1</cx:pt>
          <cx:pt idx="377">15</cx:pt>
          <cx:pt idx="378">16</cx:pt>
          <cx:pt idx="379">7</cx:pt>
          <cx:pt idx="380">199</cx:pt>
          <cx:pt idx="381">79</cx:pt>
          <cx:pt idx="382">225</cx:pt>
          <cx:pt idx="383">204</cx:pt>
          <cx:pt idx="384">51</cx:pt>
          <cx:pt idx="385">36</cx:pt>
          <cx:pt idx="386">69</cx:pt>
          <cx:pt idx="387">203</cx:pt>
          <cx:pt idx="388">168</cx:pt>
          <cx:pt idx="389">38</cx:pt>
          <cx:pt idx="390">127</cx:pt>
          <cx:pt idx="391">164</cx:pt>
          <cx:pt idx="392">320</cx:pt>
          <cx:pt idx="393">172</cx:pt>
          <cx:pt idx="394">162</cx:pt>
          <cx:pt idx="395">267</cx:pt>
          <cx:pt idx="396">176</cx:pt>
          <cx:pt idx="397">87</cx:pt>
          <cx:pt idx="398">236</cx:pt>
          <cx:pt idx="399">77</cx:pt>
          <cx:pt idx="400">67</cx:pt>
          <cx:pt idx="401">811</cx:pt>
          <cx:pt idx="402">81</cx:pt>
          <cx:pt idx="403">82</cx:pt>
          <cx:pt idx="404">844</cx:pt>
          <cx:pt idx="405">875</cx:pt>
          <cx:pt idx="406">875</cx:pt>
          <cx:pt idx="407">97</cx:pt>
          <cx:pt idx="408">883</cx:pt>
          <cx:pt idx="409">882</cx:pt>
          <cx:pt idx="410">967</cx:pt>
          <cx:pt idx="411">1084</cx:pt>
          <cx:pt idx="412">1023</cx:pt>
          <cx:pt idx="413">1039</cx:pt>
          <cx:pt idx="414">1173</cx:pt>
          <cx:pt idx="415">1005</cx:pt>
          <cx:pt idx="416">1215</cx:pt>
          <cx:pt idx="417">997</cx:pt>
          <cx:pt idx="418">1150</cx:pt>
          <cx:pt idx="419">1000</cx:pt>
          <cx:pt idx="420">1101</cx:pt>
          <cx:pt idx="421">1183</cx:pt>
          <cx:pt idx="422">1203</cx:pt>
          <cx:pt idx="423">1032</cx:pt>
          <cx:pt idx="424">1252</cx:pt>
          <cx:pt idx="425">1234</cx:pt>
          <cx:pt idx="426">1238</cx:pt>
          <cx:pt idx="427">1034</cx:pt>
          <cx:pt idx="428">1184</cx:pt>
          <cx:pt idx="429">1028</cx:pt>
          <cx:pt idx="430">1137</cx:pt>
          <cx:pt idx="431">1090</cx:pt>
          <cx:pt idx="432">1066</cx:pt>
          <cx:pt idx="433">1089</cx:pt>
          <cx:pt idx="434">1196</cx:pt>
          <cx:pt idx="435">1067</cx:pt>
          <cx:pt idx="436">1056</cx:pt>
          <cx:pt idx="437">1134</cx:pt>
          <cx:pt idx="438">1260</cx:pt>
          <cx:pt idx="439">1138</cx:pt>
          <cx:pt idx="440">1075</cx:pt>
          <cx:pt idx="441">1102</cx:pt>
          <cx:pt idx="442">1111</cx:pt>
          <cx:pt idx="443">1240</cx:pt>
          <cx:pt idx="444">1076</cx:pt>
          <cx:pt idx="445">1127</cx:pt>
          <cx:pt idx="446">1261</cx:pt>
          <cx:pt idx="447">1303</cx:pt>
          <cx:pt idx="448">1131</cx:pt>
          <cx:pt idx="449">1298</cx:pt>
          <cx:pt idx="450">1143</cx:pt>
          <cx:pt idx="451">1273</cx:pt>
          <cx:pt idx="452">1152</cx:pt>
          <cx:pt idx="453">1241</cx:pt>
          <cx:pt idx="454">1140</cx:pt>
          <cx:pt idx="455">1324</cx:pt>
          <cx:pt idx="456">1106</cx:pt>
          <cx:pt idx="457">1163</cx:pt>
          <cx:pt idx="458">1133</cx:pt>
          <cx:pt idx="459">1004</cx:pt>
          <cx:pt idx="460">999</cx:pt>
          <cx:pt idx="461">263</cx:pt>
          <cx:pt idx="462">1019</cx:pt>
          <cx:pt idx="463">326</cx:pt>
          <cx:pt idx="464">289</cx:pt>
          <cx:pt idx="465">454</cx:pt>
          <cx:pt idx="466">1022</cx:pt>
          <cx:pt idx="467">410</cx:pt>
          <cx:pt idx="468">293</cx:pt>
          <cx:pt idx="469">1064</cx:pt>
          <cx:pt idx="470">1088</cx:pt>
          <cx:pt idx="471">1090</cx:pt>
          <cx:pt idx="472">1155</cx:pt>
          <cx:pt idx="473">1101</cx:pt>
          <cx:pt idx="474">1269</cx:pt>
          <cx:pt idx="475">1141</cx:pt>
          <cx:pt idx="476">1309</cx:pt>
          <cx:pt idx="477">1152</cx:pt>
          <cx:pt idx="478">1152</cx:pt>
          <cx:pt idx="479">1118</cx:pt>
          <cx:pt idx="480">1085</cx:pt>
          <cx:pt idx="481">1107</cx:pt>
          <cx:pt idx="482">1136</cx:pt>
          <cx:pt idx="483">1146</cx:pt>
          <cx:pt idx="484">1311</cx:pt>
          <cx:pt idx="485">1136</cx:pt>
          <cx:pt idx="486">1107</cx:pt>
          <cx:pt idx="487">1139</cx:pt>
          <cx:pt idx="488">1160</cx:pt>
          <cx:pt idx="489">1104</cx:pt>
          <cx:pt idx="490">1323</cx:pt>
          <cx:pt idx="491">1106</cx:pt>
          <cx:pt idx="492">1172</cx:pt>
          <cx:pt idx="493">1139</cx:pt>
          <cx:pt idx="494">1187</cx:pt>
          <cx:pt idx="495">1160</cx:pt>
          <cx:pt idx="496">1150</cx:pt>
          <cx:pt idx="497">1122</cx:pt>
          <cx:pt idx="498">1198</cx:pt>
          <cx:pt idx="499">1129</cx:pt>
          <cx:pt idx="500">1145</cx:pt>
          <cx:pt idx="501">513</cx:pt>
          <cx:pt idx="502">384</cx:pt>
          <cx:pt idx="503">1169</cx:pt>
          <cx:pt idx="504">400</cx:pt>
          <cx:pt idx="505">547</cx:pt>
          <cx:pt idx="506">404</cx:pt>
          <cx:pt idx="507">1178</cx:pt>
          <cx:pt idx="508">555</cx:pt>
          <cx:pt idx="509">554</cx:pt>
          <cx:pt idx="510">1163</cx:pt>
          <cx:pt idx="511">560</cx:pt>
          <cx:pt idx="512">422</cx:pt>
          <cx:pt idx="513">558</cx:pt>
          <cx:pt idx="514">416</cx:pt>
          <cx:pt idx="515">577</cx:pt>
          <cx:pt idx="516">479</cx:pt>
          <cx:pt idx="517">421</cx:pt>
          <cx:pt idx="518">473</cx:pt>
          <cx:pt idx="519">493</cx:pt>
          <cx:pt idx="520">640</cx:pt>
          <cx:pt idx="521">585</cx:pt>
          <cx:pt idx="522">481</cx:pt>
          <cx:pt idx="523">500</cx:pt>
          <cx:pt idx="524">441</cx:pt>
          <cx:pt idx="525">469</cx:pt>
          <cx:pt idx="526">623</cx:pt>
          <cx:pt idx="527">495</cx:pt>
          <cx:pt idx="528">528</cx:pt>
          <cx:pt idx="529">611</cx:pt>
          <cx:pt idx="530">519</cx:pt>
          <cx:pt idx="531">677</cx:pt>
          <cx:pt idx="532">543</cx:pt>
          <cx:pt idx="533">540</cx:pt>
          <cx:pt idx="534">714</cx:pt>
          <cx:pt idx="535">685</cx:pt>
          <cx:pt idx="536">752</cx:pt>
          <cx:pt idx="537">464</cx:pt>
          <cx:pt idx="538">460</cx:pt>
          <cx:pt idx="539">784</cx:pt>
          <cx:pt idx="540">837</cx:pt>
          <cx:pt idx="541">822</cx:pt>
          <cx:pt idx="542">899</cx:pt>
          <cx:pt idx="543">815</cx:pt>
          <cx:pt idx="544">905</cx:pt>
          <cx:pt idx="545">828</cx:pt>
          <cx:pt idx="546">857</cx:pt>
          <cx:pt idx="547">909</cx:pt>
          <cx:pt idx="548">1222</cx:pt>
          <cx:pt idx="549">580</cx:pt>
          <cx:pt idx="550">593</cx:pt>
          <cx:pt idx="551">713</cx:pt>
          <cx:pt idx="552">606</cx:pt>
          <cx:pt idx="553">593</cx:pt>
          <cx:pt idx="554">778</cx:pt>
          <cx:pt idx="555">750</cx:pt>
          <cx:pt idx="556">765</cx:pt>
          <cx:pt idx="557">495</cx:pt>
          <cx:pt idx="558">582</cx:pt>
          <cx:pt idx="559">752</cx:pt>
          <cx:pt idx="560">1021</cx:pt>
          <cx:pt idx="561">747</cx:pt>
          <cx:pt idx="562">811</cx:pt>
          <cx:pt idx="563">758</cx:pt>
          <cx:pt idx="564">954</cx:pt>
          <cx:pt idx="565">1001</cx:pt>
          <cx:pt idx="566">1251</cx:pt>
          <cx:pt idx="567">956</cx:pt>
          <cx:pt idx="568">982</cx:pt>
          <cx:pt idx="569">1050</cx:pt>
          <cx:pt idx="570">879</cx:pt>
          <cx:pt idx="571">835</cx:pt>
          <cx:pt idx="572">890</cx:pt>
          <cx:pt idx="573">837</cx:pt>
          <cx:pt idx="574">1055</cx:pt>
          <cx:pt idx="575">1146</cx:pt>
          <cx:pt idx="576">964</cx:pt>
          <cx:pt idx="577">975</cx:pt>
          <cx:pt idx="578">897</cx:pt>
          <cx:pt idx="579">870</cx:pt>
          <cx:pt idx="580">850</cx:pt>
          <cx:pt idx="581">857</cx:pt>
          <cx:pt idx="582">875</cx:pt>
          <cx:pt idx="583">856</cx:pt>
          <cx:pt idx="584">925</cx:pt>
          <cx:pt idx="585">918</cx:pt>
          <cx:pt idx="586">1029</cx:pt>
          <cx:pt idx="587">954</cx:pt>
          <cx:pt idx="588">1145</cx:pt>
          <cx:pt idx="589">1268</cx:pt>
          <cx:pt idx="590">1227</cx:pt>
          <cx:pt idx="591">1223</cx:pt>
          <cx:pt idx="592">1203</cx:pt>
          <cx:pt idx="593">1120</cx:pt>
          <cx:pt idx="594">1122</cx:pt>
          <cx:pt idx="595">1124</cx:pt>
          <cx:pt idx="596">1218</cx:pt>
          <cx:pt idx="597">1224</cx:pt>
          <cx:pt idx="598">1271</cx:pt>
          <cx:pt idx="599">1204</cx:pt>
          <cx:pt idx="600">1182</cx:pt>
          <cx:pt idx="601">1202</cx:pt>
          <cx:pt idx="602">1291</cx:pt>
          <cx:pt idx="603">1196</cx:pt>
          <cx:pt idx="604">1195</cx:pt>
          <cx:pt idx="605">1280</cx:pt>
          <cx:pt idx="606">1205</cx:pt>
          <cx:pt idx="607">1283</cx:pt>
          <cx:pt idx="608">1291</cx:pt>
          <cx:pt idx="609">1238</cx:pt>
          <cx:pt idx="610">1372</cx:pt>
          <cx:pt idx="611">1320</cx:pt>
          <cx:pt idx="612">1320</cx:pt>
          <cx:pt idx="613">1399</cx:pt>
        </cx:lvl>
      </cx:numDim>
    </cx:data>
  </cx:chartData>
  <cx:chart>
    <cx:plotArea>
      <cx:plotAreaRegion>
        <cx:series layoutId="clusteredColumn" uniqueId="{94189408-D47B-43F6-962A-05E2086D47BE}">
          <cx:tx>
            <cx:txData>
              <cx:f>'4.'!$Z$1</cx:f>
              <cx:v>最大回撤在20%以上返回指数的天数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  <cx:axis id="1">
        <cx:val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</cx:plotArea>
  </cx:chart>
</cx:chartSpace>
</file>

<file path=ppt/charts/chartEx9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4.'!$AB$2:$AB$615</cx:f>
        <cx:lvl ptCount="614" formatCode="G/通用格式">
          <cx:pt idx="0">8</cx:pt>
          <cx:pt idx="1">28</cx:pt>
          <cx:pt idx="2">15</cx:pt>
          <cx:pt idx="3">58</cx:pt>
          <cx:pt idx="4">1</cx:pt>
          <cx:pt idx="5">44</cx:pt>
          <cx:pt idx="6">42</cx:pt>
          <cx:pt idx="7">29</cx:pt>
          <cx:pt idx="8">89</cx:pt>
          <cx:pt idx="9">1</cx:pt>
          <cx:pt idx="10">11</cx:pt>
          <cx:pt idx="11">1</cx:pt>
          <cx:pt idx="12">37</cx:pt>
          <cx:pt idx="13">95</cx:pt>
          <cx:pt idx="14">115</cx:pt>
          <cx:pt idx="15">68</cx:pt>
          <cx:pt idx="16">66</cx:pt>
          <cx:pt idx="17">31</cx:pt>
          <cx:pt idx="18">6</cx:pt>
          <cx:pt idx="19">83</cx:pt>
          <cx:pt idx="20">15</cx:pt>
          <cx:pt idx="21">35</cx:pt>
          <cx:pt idx="22">11</cx:pt>
          <cx:pt idx="23">18</cx:pt>
          <cx:pt idx="24">78</cx:pt>
          <cx:pt idx="25">8</cx:pt>
          <cx:pt idx="26">189</cx:pt>
          <cx:pt idx="27">6</cx:pt>
          <cx:pt idx="28">196</cx:pt>
          <cx:pt idx="29">46</cx:pt>
          <cx:pt idx="30">193</cx:pt>
          <cx:pt idx="31">9</cx:pt>
          <cx:pt idx="32">12</cx:pt>
          <cx:pt idx="33">4</cx:pt>
          <cx:pt idx="34">11</cx:pt>
          <cx:pt idx="35">173</cx:pt>
          <cx:pt idx="36">192</cx:pt>
          <cx:pt idx="37">1</cx:pt>
          <cx:pt idx="38">14</cx:pt>
          <cx:pt idx="39">2</cx:pt>
          <cx:pt idx="40">188</cx:pt>
          <cx:pt idx="41">249</cx:pt>
          <cx:pt idx="42">9</cx:pt>
          <cx:pt idx="43">13</cx:pt>
          <cx:pt idx="44">254</cx:pt>
          <cx:pt idx="45">6</cx:pt>
          <cx:pt idx="46">212</cx:pt>
          <cx:pt idx="47">78</cx:pt>
          <cx:pt idx="48">4</cx:pt>
          <cx:pt idx="49">8</cx:pt>
          <cx:pt idx="50">227</cx:pt>
          <cx:pt idx="51">79</cx:pt>
          <cx:pt idx="52">44</cx:pt>
          <cx:pt idx="53">44</cx:pt>
          <cx:pt idx="54">82</cx:pt>
          <cx:pt idx="55">7</cx:pt>
          <cx:pt idx="56">63</cx:pt>
          <cx:pt idx="57">8</cx:pt>
          <cx:pt idx="58">75</cx:pt>
          <cx:pt idx="59">89</cx:pt>
          <cx:pt idx="60">11</cx:pt>
          <cx:pt idx="61">58</cx:pt>
          <cx:pt idx="62">327</cx:pt>
          <cx:pt idx="63">120</cx:pt>
          <cx:pt idx="64">2</cx:pt>
          <cx:pt idx="65">56</cx:pt>
          <cx:pt idx="66">2</cx:pt>
          <cx:pt idx="67">44</cx:pt>
          <cx:pt idx="68">117</cx:pt>
          <cx:pt idx="69">3</cx:pt>
          <cx:pt idx="70">45</cx:pt>
          <cx:pt idx="71">6</cx:pt>
          <cx:pt idx="72">102</cx:pt>
          <cx:pt idx="73">14</cx:pt>
          <cx:pt idx="74">62</cx:pt>
          <cx:pt idx="75">7</cx:pt>
          <cx:pt idx="76">16</cx:pt>
          <cx:pt idx="77">21</cx:pt>
          <cx:pt idx="78">66</cx:pt>
          <cx:pt idx="79">71</cx:pt>
          <cx:pt idx="80">50</cx:pt>
          <cx:pt idx="81">75</cx:pt>
          <cx:pt idx="82">13</cx:pt>
          <cx:pt idx="83">68</cx:pt>
          <cx:pt idx="84">58</cx:pt>
          <cx:pt idx="85">37</cx:pt>
          <cx:pt idx="86">1</cx:pt>
          <cx:pt idx="87">5</cx:pt>
          <cx:pt idx="88">150</cx:pt>
          <cx:pt idx="89">43</cx:pt>
          <cx:pt idx="90">49</cx:pt>
          <cx:pt idx="91">104</cx:pt>
          <cx:pt idx="92">11</cx:pt>
          <cx:pt idx="93">43</cx:pt>
          <cx:pt idx="94">28</cx:pt>
          <cx:pt idx="95">6</cx:pt>
          <cx:pt idx="96">12</cx:pt>
          <cx:pt idx="97">46</cx:pt>
          <cx:pt idx="98">128</cx:pt>
          <cx:pt idx="99">127</cx:pt>
          <cx:pt idx="100">130</cx:pt>
          <cx:pt idx="101">11</cx:pt>
          <cx:pt idx="102">105</cx:pt>
          <cx:pt idx="103">14</cx:pt>
          <cx:pt idx="104">106</cx:pt>
          <cx:pt idx="105">92</cx:pt>
          <cx:pt idx="106">33</cx:pt>
          <cx:pt idx="107">52</cx:pt>
          <cx:pt idx="108">78</cx:pt>
          <cx:pt idx="109">67</cx:pt>
          <cx:pt idx="110">20</cx:pt>
          <cx:pt idx="111">8</cx:pt>
          <cx:pt idx="112">67</cx:pt>
          <cx:pt idx="113">122</cx:pt>
          <cx:pt idx="114">60</cx:pt>
          <cx:pt idx="115">23</cx:pt>
          <cx:pt idx="116">1</cx:pt>
          <cx:pt idx="117">182</cx:pt>
          <cx:pt idx="118">21</cx:pt>
          <cx:pt idx="119">6</cx:pt>
          <cx:pt idx="120">27</cx:pt>
          <cx:pt idx="121">193</cx:pt>
          <cx:pt idx="122">1</cx:pt>
          <cx:pt idx="123">1</cx:pt>
          <cx:pt idx="124">219</cx:pt>
          <cx:pt idx="125">18</cx:pt>
          <cx:pt idx="126">6</cx:pt>
          <cx:pt idx="127">50</cx:pt>
          <cx:pt idx="128">164</cx:pt>
          <cx:pt idx="129">47</cx:pt>
          <cx:pt idx="130">119</cx:pt>
          <cx:pt idx="131">55</cx:pt>
          <cx:pt idx="132">130</cx:pt>
          <cx:pt idx="133">89</cx:pt>
          <cx:pt idx="134">121</cx:pt>
          <cx:pt idx="135">130</cx:pt>
          <cx:pt idx="136">169</cx:pt>
          <cx:pt idx="137">216</cx:pt>
          <cx:pt idx="138">266</cx:pt>
          <cx:pt idx="139">210</cx:pt>
          <cx:pt idx="140">6</cx:pt>
          <cx:pt idx="141">220</cx:pt>
          <cx:pt idx="142">89</cx:pt>
          <cx:pt idx="143">6</cx:pt>
          <cx:pt idx="144">296</cx:pt>
          <cx:pt idx="145">399</cx:pt>
          <cx:pt idx="146">421</cx:pt>
          <cx:pt idx="147">433</cx:pt>
          <cx:pt idx="148">305</cx:pt>
          <cx:pt idx="149">311</cx:pt>
          <cx:pt idx="150">315</cx:pt>
          <cx:pt idx="151">13</cx:pt>
          <cx:pt idx="152">434</cx:pt>
          <cx:pt idx="153">311</cx:pt>
          <cx:pt idx="154">3</cx:pt>
          <cx:pt idx="155">337</cx:pt>
          <cx:pt idx="156">368</cx:pt>
          <cx:pt idx="157">3</cx:pt>
          <cx:pt idx="158">7</cx:pt>
          <cx:pt idx="159">17</cx:pt>
          <cx:pt idx="160">426</cx:pt>
          <cx:pt idx="161">32</cx:pt>
          <cx:pt idx="162">14</cx:pt>
          <cx:pt idx="163">26</cx:pt>
          <cx:pt idx="164">33</cx:pt>
          <cx:pt idx="165">448</cx:pt>
          <cx:pt idx="166">434</cx:pt>
          <cx:pt idx="167">2</cx:pt>
          <cx:pt idx="168">12</cx:pt>
          <cx:pt idx="169">677</cx:pt>
          <cx:pt idx="170">419</cx:pt>
          <cx:pt idx="171">346</cx:pt>
          <cx:pt idx="172">424</cx:pt>
          <cx:pt idx="173">434</cx:pt>
          <cx:pt idx="174">422</cx:pt>
          <cx:pt idx="175">490</cx:pt>
          <cx:pt idx="176">670</cx:pt>
          <cx:pt idx="177">649</cx:pt>
          <cx:pt idx="178">552</cx:pt>
          <cx:pt idx="179">654</cx:pt>
          <cx:pt idx="180">625</cx:pt>
          <cx:pt idx="181">648</cx:pt>
          <cx:pt idx="182">572</cx:pt>
          <cx:pt idx="183">529</cx:pt>
          <cx:pt idx="184">565</cx:pt>
          <cx:pt idx="185">8</cx:pt>
          <cx:pt idx="186">538</cx:pt>
          <cx:pt idx="187">542</cx:pt>
          <cx:pt idx="188">5</cx:pt>
          <cx:pt idx="189">573</cx:pt>
          <cx:pt idx="190">644</cx:pt>
          <cx:pt idx="191">12</cx:pt>
          <cx:pt idx="192">697</cx:pt>
          <cx:pt idx="193">553</cx:pt>
          <cx:pt idx="194">562</cx:pt>
          <cx:pt idx="195">646</cx:pt>
          <cx:pt idx="196">18</cx:pt>
          <cx:pt idx="197">735</cx:pt>
          <cx:pt idx="198">18</cx:pt>
          <cx:pt idx="199">646</cx:pt>
          <cx:pt idx="200">620</cx:pt>
          <cx:pt idx="201">649</cx:pt>
          <cx:pt idx="202">2</cx:pt>
          <cx:pt idx="203">671</cx:pt>
          <cx:pt idx="204">9</cx:pt>
          <cx:pt idx="205">661</cx:pt>
          <cx:pt idx="206">16</cx:pt>
          <cx:pt idx="207">1</cx:pt>
          <cx:pt idx="208">61</cx:pt>
          <cx:pt idx="209">2</cx:pt>
          <cx:pt idx="210">2</cx:pt>
          <cx:pt idx="211">81</cx:pt>
          <cx:pt idx="212">23</cx:pt>
          <cx:pt idx="213">65</cx:pt>
          <cx:pt idx="214">2</cx:pt>
          <cx:pt idx="215">69</cx:pt>
          <cx:pt idx="216">29</cx:pt>
          <cx:pt idx="217">4</cx:pt>
          <cx:pt idx="218">2</cx:pt>
          <cx:pt idx="219">96</cx:pt>
          <cx:pt idx="220">101</cx:pt>
          <cx:pt idx="221">94</cx:pt>
          <cx:pt idx="222">95</cx:pt>
          <cx:pt idx="223">170</cx:pt>
          <cx:pt idx="224">105</cx:pt>
          <cx:pt idx="225">15</cx:pt>
          <cx:pt idx="226">121</cx:pt>
          <cx:pt idx="227">25</cx:pt>
          <cx:pt idx="228">153</cx:pt>
          <cx:pt idx="229">17</cx:pt>
          <cx:pt idx="230">112</cx:pt>
          <cx:pt idx="231">47</cx:pt>
          <cx:pt idx="232">69</cx:pt>
          <cx:pt idx="233">180</cx:pt>
          <cx:pt idx="234">59</cx:pt>
          <cx:pt idx="235">23</cx:pt>
          <cx:pt idx="236">32</cx:pt>
          <cx:pt idx="237">38</cx:pt>
          <cx:pt idx="238">139</cx:pt>
          <cx:pt idx="239">96</cx:pt>
          <cx:pt idx="240">25</cx:pt>
          <cx:pt idx="241">146</cx:pt>
          <cx:pt idx="242">109</cx:pt>
          <cx:pt idx="243">127</cx:pt>
          <cx:pt idx="244">146</cx:pt>
          <cx:pt idx="245">151</cx:pt>
          <cx:pt idx="246">8</cx:pt>
          <cx:pt idx="247">1</cx:pt>
          <cx:pt idx="248">31</cx:pt>
          <cx:pt idx="249">51</cx:pt>
          <cx:pt idx="250">33</cx:pt>
          <cx:pt idx="251">219</cx:pt>
          <cx:pt idx="252">208</cx:pt>
          <cx:pt idx="253">38</cx:pt>
          <cx:pt idx="254">66</cx:pt>
          <cx:pt idx="255">202</cx:pt>
          <cx:pt idx="256">32</cx:pt>
          <cx:pt idx="257">206</cx:pt>
          <cx:pt idx="258">3</cx:pt>
          <cx:pt idx="259">10</cx:pt>
          <cx:pt idx="260">21</cx:pt>
          <cx:pt idx="261">131</cx:pt>
          <cx:pt idx="262">1</cx:pt>
          <cx:pt idx="263">134</cx:pt>
          <cx:pt idx="264">8</cx:pt>
          <cx:pt idx="265">2</cx:pt>
          <cx:pt idx="266">81</cx:pt>
          <cx:pt idx="267">99</cx:pt>
          <cx:pt idx="268">29</cx:pt>
          <cx:pt idx="269">3</cx:pt>
          <cx:pt idx="270">89</cx:pt>
          <cx:pt idx="271">240</cx:pt>
          <cx:pt idx="272">8</cx:pt>
          <cx:pt idx="273">128</cx:pt>
          <cx:pt idx="274">51</cx:pt>
          <cx:pt idx="275">1</cx:pt>
          <cx:pt idx="276">58</cx:pt>
          <cx:pt idx="277">156</cx:pt>
          <cx:pt idx="278">73</cx:pt>
          <cx:pt idx="279">48</cx:pt>
          <cx:pt idx="280">9</cx:pt>
          <cx:pt idx="281">63</cx:pt>
          <cx:pt idx="282">69</cx:pt>
          <cx:pt idx="283">40</cx:pt>
          <cx:pt idx="284">59</cx:pt>
          <cx:pt idx="285">112</cx:pt>
          <cx:pt idx="286">95</cx:pt>
          <cx:pt idx="287">323</cx:pt>
          <cx:pt idx="288">65</cx:pt>
          <cx:pt idx="289">4</cx:pt>
          <cx:pt idx="290">106</cx:pt>
          <cx:pt idx="291">77</cx:pt>
          <cx:pt idx="292">61</cx:pt>
          <cx:pt idx="293">62</cx:pt>
          <cx:pt idx="294">34</cx:pt>
          <cx:pt idx="295">53</cx:pt>
          <cx:pt idx="296">147</cx:pt>
          <cx:pt idx="297">47</cx:pt>
          <cx:pt idx="298">77</cx:pt>
          <cx:pt idx="299">169</cx:pt>
          <cx:pt idx="300">3</cx:pt>
          <cx:pt idx="301">31</cx:pt>
          <cx:pt idx="302">1</cx:pt>
          <cx:pt idx="303">5</cx:pt>
          <cx:pt idx="304">100</cx:pt>
          <cx:pt idx="305">58</cx:pt>
          <cx:pt idx="306">56</cx:pt>
          <cx:pt idx="307">202</cx:pt>
          <cx:pt idx="308">14</cx:pt>
          <cx:pt idx="309">158</cx:pt>
          <cx:pt idx="310">166</cx:pt>
          <cx:pt idx="311">18</cx:pt>
          <cx:pt idx="312">29</cx:pt>
          <cx:pt idx="313">417</cx:pt>
          <cx:pt idx="314">46</cx:pt>
          <cx:pt idx="315">446</cx:pt>
          <cx:pt idx="316">326</cx:pt>
          <cx:pt idx="317">13</cx:pt>
          <cx:pt idx="318">9</cx:pt>
          <cx:pt idx="319">316</cx:pt>
          <cx:pt idx="320">454</cx:pt>
          <cx:pt idx="321">492</cx:pt>
          <cx:pt idx="322">40</cx:pt>
          <cx:pt idx="323">246</cx:pt>
          <cx:pt idx="324">49</cx:pt>
          <cx:pt idx="325">7</cx:pt>
          <cx:pt idx="326">46</cx:pt>
          <cx:pt idx="327">1</cx:pt>
          <cx:pt idx="328">50</cx:pt>
          <cx:pt idx="329">263</cx:pt>
          <cx:pt idx="330">5</cx:pt>
          <cx:pt idx="331">37</cx:pt>
          <cx:pt idx="332">550</cx:pt>
          <cx:pt idx="333">10</cx:pt>
          <cx:pt idx="334">38</cx:pt>
          <cx:pt idx="335">41</cx:pt>
          <cx:pt idx="336">50</cx:pt>
          <cx:pt idx="337">610</cx:pt>
          <cx:pt idx="338">43</cx:pt>
          <cx:pt idx="339">496</cx:pt>
          <cx:pt idx="340">3</cx:pt>
          <cx:pt idx="341">150</cx:pt>
          <cx:pt idx="342">109</cx:pt>
          <cx:pt idx="343">1</cx:pt>
          <cx:pt idx="344">164</cx:pt>
          <cx:pt idx="345">179</cx:pt>
          <cx:pt idx="346">154</cx:pt>
          <cx:pt idx="347">18</cx:pt>
          <cx:pt idx="348">9</cx:pt>
          <cx:pt idx="349">127</cx:pt>
          <cx:pt idx="350">23</cx:pt>
          <cx:pt idx="351">37</cx:pt>
          <cx:pt idx="352">12</cx:pt>
          <cx:pt idx="353">20</cx:pt>
          <cx:pt idx="354">61</cx:pt>
          <cx:pt idx="355">134</cx:pt>
          <cx:pt idx="356">15</cx:pt>
          <cx:pt idx="357">1</cx:pt>
          <cx:pt idx="358">14</cx:pt>
          <cx:pt idx="359">125</cx:pt>
          <cx:pt idx="360">109</cx:pt>
          <cx:pt idx="361">107</cx:pt>
          <cx:pt idx="362">160</cx:pt>
          <cx:pt idx="363">143</cx:pt>
          <cx:pt idx="364">153</cx:pt>
          <cx:pt idx="365">33</cx:pt>
          <cx:pt idx="366">162</cx:pt>
          <cx:pt idx="367">44</cx:pt>
          <cx:pt idx="368">198</cx:pt>
          <cx:pt idx="369">60</cx:pt>
          <cx:pt idx="370">33</cx:pt>
          <cx:pt idx="371">223</cx:pt>
          <cx:pt idx="372">139</cx:pt>
          <cx:pt idx="373">141</cx:pt>
          <cx:pt idx="374">287</cx:pt>
          <cx:pt idx="375">8</cx:pt>
          <cx:pt idx="376">1</cx:pt>
          <cx:pt idx="377">15</cx:pt>
          <cx:pt idx="378">16</cx:pt>
          <cx:pt idx="379">7</cx:pt>
          <cx:pt idx="380">199</cx:pt>
          <cx:pt idx="381">79</cx:pt>
          <cx:pt idx="382">225</cx:pt>
          <cx:pt idx="383">204</cx:pt>
          <cx:pt idx="384">51</cx:pt>
          <cx:pt idx="385">36</cx:pt>
          <cx:pt idx="386">69</cx:pt>
          <cx:pt idx="387">203</cx:pt>
          <cx:pt idx="388">168</cx:pt>
          <cx:pt idx="389">38</cx:pt>
          <cx:pt idx="390">127</cx:pt>
          <cx:pt idx="391">164</cx:pt>
          <cx:pt idx="392">320</cx:pt>
          <cx:pt idx="393">172</cx:pt>
          <cx:pt idx="394">162</cx:pt>
          <cx:pt idx="395">267</cx:pt>
          <cx:pt idx="396">176</cx:pt>
          <cx:pt idx="397">87</cx:pt>
          <cx:pt idx="398">236</cx:pt>
          <cx:pt idx="399">77</cx:pt>
          <cx:pt idx="400">67</cx:pt>
          <cx:pt idx="401">811</cx:pt>
          <cx:pt idx="402">81</cx:pt>
          <cx:pt idx="403">82</cx:pt>
          <cx:pt idx="404">844</cx:pt>
          <cx:pt idx="405">875</cx:pt>
          <cx:pt idx="406">875</cx:pt>
          <cx:pt idx="407">97</cx:pt>
          <cx:pt idx="408">883</cx:pt>
          <cx:pt idx="409">882</cx:pt>
          <cx:pt idx="410">967</cx:pt>
          <cx:pt idx="411">1084</cx:pt>
          <cx:pt idx="412">1023</cx:pt>
          <cx:pt idx="413">1039</cx:pt>
          <cx:pt idx="414">1173</cx:pt>
          <cx:pt idx="415">1005</cx:pt>
          <cx:pt idx="416">1215</cx:pt>
          <cx:pt idx="417">997</cx:pt>
          <cx:pt idx="418">1150</cx:pt>
          <cx:pt idx="419">1000</cx:pt>
          <cx:pt idx="420">1101</cx:pt>
          <cx:pt idx="421">1183</cx:pt>
          <cx:pt idx="422">1203</cx:pt>
          <cx:pt idx="423">1032</cx:pt>
          <cx:pt idx="424">1252</cx:pt>
          <cx:pt idx="425">1234</cx:pt>
          <cx:pt idx="426">1238</cx:pt>
          <cx:pt idx="427">1034</cx:pt>
          <cx:pt idx="428">1184</cx:pt>
          <cx:pt idx="429">1028</cx:pt>
          <cx:pt idx="430">1137</cx:pt>
          <cx:pt idx="431">1090</cx:pt>
          <cx:pt idx="432">1066</cx:pt>
          <cx:pt idx="433">1089</cx:pt>
          <cx:pt idx="434">1196</cx:pt>
          <cx:pt idx="435">1067</cx:pt>
          <cx:pt idx="436">1056</cx:pt>
          <cx:pt idx="437">1134</cx:pt>
          <cx:pt idx="438">1260</cx:pt>
          <cx:pt idx="439">1138</cx:pt>
          <cx:pt idx="440">1075</cx:pt>
          <cx:pt idx="441">1102</cx:pt>
          <cx:pt idx="442">1111</cx:pt>
          <cx:pt idx="443">1240</cx:pt>
          <cx:pt idx="444">1076</cx:pt>
          <cx:pt idx="445">1127</cx:pt>
          <cx:pt idx="446">1261</cx:pt>
          <cx:pt idx="447">1303</cx:pt>
          <cx:pt idx="448">1131</cx:pt>
          <cx:pt idx="449">1298</cx:pt>
          <cx:pt idx="450">1143</cx:pt>
          <cx:pt idx="451">1273</cx:pt>
          <cx:pt idx="452">1152</cx:pt>
          <cx:pt idx="453">1241</cx:pt>
          <cx:pt idx="454">1140</cx:pt>
          <cx:pt idx="455">1324</cx:pt>
          <cx:pt idx="456">1106</cx:pt>
          <cx:pt idx="457">1163</cx:pt>
          <cx:pt idx="458">1133</cx:pt>
          <cx:pt idx="459">1004</cx:pt>
          <cx:pt idx="460">999</cx:pt>
          <cx:pt idx="461">263</cx:pt>
          <cx:pt idx="462">1019</cx:pt>
          <cx:pt idx="463">326</cx:pt>
          <cx:pt idx="464">289</cx:pt>
          <cx:pt idx="465">454</cx:pt>
          <cx:pt idx="466">1022</cx:pt>
          <cx:pt idx="467">410</cx:pt>
          <cx:pt idx="468">293</cx:pt>
          <cx:pt idx="469">1064</cx:pt>
          <cx:pt idx="470">1088</cx:pt>
          <cx:pt idx="471">1090</cx:pt>
          <cx:pt idx="472">1155</cx:pt>
          <cx:pt idx="473">1101</cx:pt>
          <cx:pt idx="474">1269</cx:pt>
          <cx:pt idx="475">1141</cx:pt>
          <cx:pt idx="476">1309</cx:pt>
          <cx:pt idx="477">1152</cx:pt>
          <cx:pt idx="478">1152</cx:pt>
          <cx:pt idx="479">1118</cx:pt>
          <cx:pt idx="480">1085</cx:pt>
          <cx:pt idx="481">1107</cx:pt>
          <cx:pt idx="482">1136</cx:pt>
          <cx:pt idx="483">1146</cx:pt>
          <cx:pt idx="484">1311</cx:pt>
          <cx:pt idx="485">1136</cx:pt>
          <cx:pt idx="486">1107</cx:pt>
          <cx:pt idx="487">1139</cx:pt>
          <cx:pt idx="488">1160</cx:pt>
          <cx:pt idx="489">1104</cx:pt>
          <cx:pt idx="490">1323</cx:pt>
          <cx:pt idx="491">1106</cx:pt>
          <cx:pt idx="492">1172</cx:pt>
          <cx:pt idx="493">1139</cx:pt>
          <cx:pt idx="494">1187</cx:pt>
          <cx:pt idx="495">1160</cx:pt>
          <cx:pt idx="496">1150</cx:pt>
          <cx:pt idx="497">1122</cx:pt>
          <cx:pt idx="498">1198</cx:pt>
          <cx:pt idx="499">1129</cx:pt>
          <cx:pt idx="500">1145</cx:pt>
          <cx:pt idx="501">513</cx:pt>
          <cx:pt idx="502">384</cx:pt>
          <cx:pt idx="503">1169</cx:pt>
          <cx:pt idx="504">400</cx:pt>
          <cx:pt idx="505">547</cx:pt>
          <cx:pt idx="506">404</cx:pt>
          <cx:pt idx="507">1178</cx:pt>
          <cx:pt idx="508">555</cx:pt>
          <cx:pt idx="509">554</cx:pt>
          <cx:pt idx="510">1163</cx:pt>
          <cx:pt idx="511">560</cx:pt>
          <cx:pt idx="512">422</cx:pt>
          <cx:pt idx="513">558</cx:pt>
          <cx:pt idx="514">416</cx:pt>
          <cx:pt idx="515">577</cx:pt>
          <cx:pt idx="516">479</cx:pt>
          <cx:pt idx="517">421</cx:pt>
          <cx:pt idx="518">473</cx:pt>
          <cx:pt idx="519">493</cx:pt>
          <cx:pt idx="520">640</cx:pt>
          <cx:pt idx="521">585</cx:pt>
          <cx:pt idx="522">481</cx:pt>
          <cx:pt idx="523">500</cx:pt>
          <cx:pt idx="524">441</cx:pt>
          <cx:pt idx="525">469</cx:pt>
          <cx:pt idx="526">623</cx:pt>
          <cx:pt idx="527">495</cx:pt>
          <cx:pt idx="528">528</cx:pt>
          <cx:pt idx="529">611</cx:pt>
          <cx:pt idx="530">519</cx:pt>
          <cx:pt idx="531">677</cx:pt>
          <cx:pt idx="532">543</cx:pt>
          <cx:pt idx="533">540</cx:pt>
          <cx:pt idx="534">714</cx:pt>
          <cx:pt idx="535">685</cx:pt>
          <cx:pt idx="536">752</cx:pt>
          <cx:pt idx="537">464</cx:pt>
          <cx:pt idx="538">460</cx:pt>
          <cx:pt idx="539">784</cx:pt>
          <cx:pt idx="540">837</cx:pt>
          <cx:pt idx="541">822</cx:pt>
          <cx:pt idx="542">899</cx:pt>
          <cx:pt idx="543">815</cx:pt>
          <cx:pt idx="544">905</cx:pt>
          <cx:pt idx="545">828</cx:pt>
          <cx:pt idx="546">857</cx:pt>
          <cx:pt idx="547">909</cx:pt>
          <cx:pt idx="548">1222</cx:pt>
          <cx:pt idx="549">580</cx:pt>
          <cx:pt idx="550">593</cx:pt>
          <cx:pt idx="551">713</cx:pt>
          <cx:pt idx="552">606</cx:pt>
          <cx:pt idx="553">593</cx:pt>
          <cx:pt idx="554">778</cx:pt>
          <cx:pt idx="555">750</cx:pt>
          <cx:pt idx="556">765</cx:pt>
          <cx:pt idx="557">495</cx:pt>
          <cx:pt idx="558">582</cx:pt>
          <cx:pt idx="559">752</cx:pt>
          <cx:pt idx="560">1021</cx:pt>
          <cx:pt idx="561">747</cx:pt>
          <cx:pt idx="562">811</cx:pt>
          <cx:pt idx="563">758</cx:pt>
          <cx:pt idx="564">954</cx:pt>
          <cx:pt idx="565">1001</cx:pt>
          <cx:pt idx="566">1251</cx:pt>
          <cx:pt idx="567">956</cx:pt>
          <cx:pt idx="568">982</cx:pt>
          <cx:pt idx="569">1050</cx:pt>
          <cx:pt idx="570">879</cx:pt>
          <cx:pt idx="571">835</cx:pt>
          <cx:pt idx="572">890</cx:pt>
          <cx:pt idx="573">837</cx:pt>
          <cx:pt idx="574">1055</cx:pt>
          <cx:pt idx="575">1146</cx:pt>
          <cx:pt idx="576">964</cx:pt>
          <cx:pt idx="577">975</cx:pt>
          <cx:pt idx="578">897</cx:pt>
          <cx:pt idx="579">870</cx:pt>
          <cx:pt idx="580">850</cx:pt>
          <cx:pt idx="581">857</cx:pt>
          <cx:pt idx="582">875</cx:pt>
          <cx:pt idx="583">856</cx:pt>
          <cx:pt idx="584">925</cx:pt>
          <cx:pt idx="585">918</cx:pt>
          <cx:pt idx="586">1029</cx:pt>
          <cx:pt idx="587">954</cx:pt>
          <cx:pt idx="588">1145</cx:pt>
          <cx:pt idx="589">1268</cx:pt>
          <cx:pt idx="590">1227</cx:pt>
          <cx:pt idx="591">1223</cx:pt>
          <cx:pt idx="592">1203</cx:pt>
          <cx:pt idx="593">1120</cx:pt>
          <cx:pt idx="594">1122</cx:pt>
          <cx:pt idx="595">1124</cx:pt>
          <cx:pt idx="596">1218</cx:pt>
          <cx:pt idx="597">1224</cx:pt>
          <cx:pt idx="598">1271</cx:pt>
          <cx:pt idx="599">1204</cx:pt>
          <cx:pt idx="600">1182</cx:pt>
          <cx:pt idx="601">1202</cx:pt>
          <cx:pt idx="602">1291</cx:pt>
          <cx:pt idx="603">1196</cx:pt>
          <cx:pt idx="604">1195</cx:pt>
          <cx:pt idx="605">1280</cx:pt>
          <cx:pt idx="606">1205</cx:pt>
          <cx:pt idx="607">1283</cx:pt>
          <cx:pt idx="608">1291</cx:pt>
          <cx:pt idx="609">1238</cx:pt>
          <cx:pt idx="610">1372</cx:pt>
          <cx:pt idx="611">1320</cx:pt>
          <cx:pt idx="612">1320</cx:pt>
          <cx:pt idx="613">1399</cx:pt>
        </cx:lvl>
      </cx:numDim>
    </cx:data>
  </cx:chartData>
  <cx:chart>
    <cx:plotArea>
      <cx:plotAreaRegion>
        <cx:series layoutId="clusteredColumn" uniqueId="{E1DD257C-C316-4EB8-8EA8-8728C6AF6A4C}">
          <cx:tx>
            <cx:txData>
              <cx:f>'4.'!$AB$1</cx:f>
              <cx:v>最大回撤在30%以上返回指数的天数</cx:v>
            </cx:txData>
          </cx:tx>
          <cx:spPr>
            <a:solidFill>
              <a:srgbClr val="CEC4C8"/>
            </a:solidFill>
            <a:ln>
              <a:noFill/>
            </a:ln>
          </cx:spPr>
          <cx:dataId val="0"/>
          <cx:layoutPr>
            <cx:binning intervalClosed="r"/>
          </cx:layoutPr>
        </cx:series>
      </cx:plotAreaRegion>
      <cx:axis id="0">
        <cx:cat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  <cx:axis id="1">
        <cx:valScaling/>
        <cx:tickLabels/>
        <cx:txPr>
          <a:bodyPr vertOverflow="overflow" horzOverflow="overflow" wrap="square" lIns="0" tIns="0" rIns="0" bIns="0"/>
          <a:lstStyle/>
          <a:p>
            <a:pPr algn="ctr" rtl="0">
              <a:defRPr sz="700" b="0" i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zh-CN" altLang="en-US" sz="700"/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3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acrossLinear" id="2">
  <a:schemeClr val="accent1"/>
  <a:schemeClr val="accent2"/>
  <a:schemeClr val="accent3"/>
  <a:schemeClr val="accent4"/>
  <a:schemeClr val="accent5"/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06800" y="2681330"/>
            <a:ext cx="3870000" cy="432000"/>
          </a:xfrm>
        </p:spPr>
        <p:txBody>
          <a:bodyPr anchor="ctr">
            <a:normAutofit/>
          </a:bodyPr>
          <a:lstStyle>
            <a:lvl1pPr>
              <a:defRPr sz="1400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r>
              <a:rPr lang="zh-CN" altLang="en-US" dirty="0"/>
              <a:t>第</a:t>
            </a:r>
            <a:r>
              <a:rPr lang="en-US" altLang="zh-CN" dirty="0"/>
              <a:t>X</a:t>
            </a:r>
            <a:r>
              <a:rPr lang="zh-CN" altLang="en-US" dirty="0"/>
              <a:t>章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06800" y="3218654"/>
            <a:ext cx="9159698" cy="691200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700" b="1">
                <a:solidFill>
                  <a:srgbClr val="000000"/>
                </a:solidFill>
              </a:defRPr>
            </a:lvl1pPr>
            <a:lvl2pPr marL="509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9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8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7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65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章节标题</a:t>
            </a:r>
          </a:p>
        </p:txBody>
      </p:sp>
      <p:sp>
        <p:nvSpPr>
          <p:cNvPr id="5" name="矩形 4"/>
          <p:cNvSpPr/>
          <p:nvPr userDrawn="1"/>
        </p:nvSpPr>
        <p:spPr>
          <a:xfrm>
            <a:off x="414692" y="3122753"/>
            <a:ext cx="9576000" cy="72000"/>
          </a:xfrm>
          <a:prstGeom prst="rect">
            <a:avLst/>
          </a:prstGeom>
          <a:gradFill flip="none" rotWithShape="1">
            <a:gsLst>
              <a:gs pos="50400">
                <a:srgbClr val="9B3519"/>
              </a:gs>
              <a:gs pos="0">
                <a:srgbClr val="9B3519"/>
              </a:gs>
              <a:gs pos="100000">
                <a:schemeClr val="bg1"/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4224754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25551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06800" y="1652400"/>
            <a:ext cx="2102400" cy="5115600"/>
          </a:xfrm>
        </p:spPr>
        <p:txBody>
          <a:bodyPr/>
          <a:lstStyle>
            <a:lvl1pPr marL="180975" indent="-180975">
              <a:defRPr lang="zh-CN" altLang="en-US" sz="1200" kern="1200" dirty="0" smtClean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1pPr>
            <a:lvl2pPr marL="371475" indent="-171450">
              <a:defRPr lang="zh-CN" altLang="en-US" sz="1200" kern="1200" dirty="0" smtClean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2pPr>
            <a:lvl3pPr marL="542925" indent="-180975">
              <a:defRPr lang="zh-CN" altLang="en-US" sz="1200" kern="1200" dirty="0" smtClean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3pPr>
            <a:lvl4pPr marL="666750" indent="-171450">
              <a:defRPr lang="zh-CN" altLang="en-US" sz="1200" kern="1200" dirty="0" smtClean="0">
                <a:solidFill>
                  <a:schemeClr val="tx1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4pPr>
            <a:lvl5pPr marL="828675" indent="-171450">
              <a:defRPr lang="zh-CN" altLang="en-US" sz="1200" kern="1200" dirty="0">
                <a:solidFill>
                  <a:schemeClr val="tx1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5pPr>
          </a:lstStyle>
          <a:p>
            <a:pPr marL="180975" lvl="0" indent="-18097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n"/>
            </a:pPr>
            <a:r>
              <a:rPr lang="zh-CN" altLang="en-US" dirty="0"/>
              <a:t>单击此处编辑母版文本样式</a:t>
            </a:r>
          </a:p>
          <a:p>
            <a:pPr marL="333375" lvl="1" indent="-133350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Arial" pitchFamily="34" charset="0"/>
              <a:buChar char="–"/>
            </a:pPr>
            <a:r>
              <a:rPr lang="zh-CN" altLang="en-US" dirty="0"/>
              <a:t>第二级</a:t>
            </a:r>
          </a:p>
          <a:p>
            <a:pPr marL="485775" lvl="2" indent="-12382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zh-CN" altLang="en-US" dirty="0"/>
              <a:t>第三级</a:t>
            </a:r>
          </a:p>
          <a:p>
            <a:pPr marL="638175" lvl="3" indent="-14287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ü"/>
            </a:pPr>
            <a:r>
              <a:rPr lang="zh-CN" altLang="en-US" dirty="0"/>
              <a:t>第四级</a:t>
            </a:r>
          </a:p>
          <a:p>
            <a:pPr marL="790575" lvl="4" indent="-133350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Arial" pitchFamily="34" charset="0"/>
              <a:buChar char="»"/>
            </a:pPr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8939875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06800" y="1652400"/>
            <a:ext cx="2102400" cy="5115600"/>
          </a:xfrm>
        </p:spPr>
        <p:txBody>
          <a:bodyPr/>
          <a:lstStyle>
            <a:lvl1pPr>
              <a:lnSpc>
                <a:spcPct val="110000"/>
              </a:lnSpc>
              <a:spcBef>
                <a:spcPts val="300"/>
              </a:spcBef>
              <a:defRPr/>
            </a:lvl1pPr>
            <a:lvl2pPr marL="333375" indent="-133350">
              <a:lnSpc>
                <a:spcPct val="110000"/>
              </a:lnSpc>
              <a:spcBef>
                <a:spcPts val="300"/>
              </a:spcBef>
              <a:buSzPct val="80000"/>
              <a:defRPr/>
            </a:lvl2pPr>
            <a:lvl3pPr marL="485775" indent="-123825">
              <a:lnSpc>
                <a:spcPct val="110000"/>
              </a:lnSpc>
              <a:spcBef>
                <a:spcPts val="300"/>
              </a:spcBef>
              <a:defRPr/>
            </a:lvl3pPr>
            <a:lvl4pPr marL="638175" indent="-142875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ü"/>
              <a:defRPr/>
            </a:lvl4pPr>
            <a:lvl5pPr marL="790575" indent="-133350">
              <a:lnSpc>
                <a:spcPct val="110000"/>
              </a:lnSpc>
              <a:spcBef>
                <a:spcPts val="300"/>
              </a:spcBef>
              <a:buSzPct val="80000"/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8752020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63626" y="790650"/>
            <a:ext cx="8997950" cy="561975"/>
          </a:xfrm>
          <a:prstGeom prst="rect">
            <a:avLst/>
          </a:prstGeom>
        </p:spPr>
        <p:txBody>
          <a:bodyPr vert="horz" wrap="square" lIns="100838" tIns="50419" rIns="100838" bIns="50419" rtlCol="0" anchor="t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06800" y="1652400"/>
            <a:ext cx="2102400" cy="4762800"/>
          </a:xfrm>
          <a:prstGeom prst="rect">
            <a:avLst/>
          </a:prstGeom>
        </p:spPr>
        <p:txBody>
          <a:bodyPr vert="horz" lIns="101901" tIns="50950" rIns="101901" bIns="5095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990434" y="7152510"/>
            <a:ext cx="540060" cy="252028"/>
          </a:xfrm>
          <a:prstGeom prst="rect">
            <a:avLst/>
          </a:prstGeom>
          <a:noFill/>
        </p:spPr>
        <p:txBody>
          <a:bodyPr wrap="square" lIns="72000" tIns="18000" rIns="72000" bIns="18000" rtlCol="0" anchor="ctr">
            <a:noAutofit/>
          </a:bodyPr>
          <a:lstStyle/>
          <a:p>
            <a:pPr algn="r"/>
            <a:fld id="{DAEC31D3-4A50-4A4C-86F1-071D92773413}" type="slidenum">
              <a:rPr lang="zh-CN" altLang="en-US" sz="1000" smtClean="0"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zh-CN" altLang="en-US" sz="1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图形 4">
            <a:extLst>
              <a:ext uri="{FF2B5EF4-FFF2-40B4-BE49-F238E27FC236}">
                <a16:creationId xmlns:a16="http://schemas.microsoft.com/office/drawing/2014/main" id="{1F35196F-B0B6-4E81-9027-57D04E7C63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626" y="6917981"/>
            <a:ext cx="1311149" cy="346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47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2" r:id="rId2"/>
    <p:sldLayoutId id="2147483673" r:id="rId3"/>
    <p:sldLayoutId id="2147483671" r:id="rId4"/>
  </p:sldLayoutIdLst>
  <p:hf hdr="0" ftr="0" dt="0"/>
  <p:txStyles>
    <p:titleStyle>
      <a:lvl1pPr algn="l" defTabSz="1019007" rtl="0" eaLnBrk="1" latinLnBrk="0" hangingPunct="1">
        <a:spcBef>
          <a:spcPct val="0"/>
        </a:spcBef>
        <a:buNone/>
        <a:defRPr sz="2400" b="1" kern="1200">
          <a:solidFill>
            <a:srgbClr val="000000"/>
          </a:solidFill>
          <a:latin typeface="Arial" pitchFamily="34" charset="0"/>
          <a:ea typeface="楷体_GB2312" pitchFamily="49" charset="-122"/>
          <a:cs typeface="Arial" pitchFamily="34" charset="0"/>
        </a:defRPr>
      </a:lvl1pPr>
    </p:titleStyle>
    <p:bodyStyle>
      <a:lvl1pPr marL="180975" indent="-180975" algn="l" defTabSz="1019007" rtl="0" eaLnBrk="1" latinLnBrk="0" hangingPunct="1">
        <a:spcBef>
          <a:spcPct val="20000"/>
        </a:spcBef>
        <a:buSzPct val="80000"/>
        <a:buFont typeface="Wingdings" pitchFamily="2" charset="2"/>
        <a:buChar char="n"/>
        <a:defRPr sz="1200" kern="1200">
          <a:solidFill>
            <a:srgbClr val="000000"/>
          </a:solidFill>
          <a:latin typeface="Arial" pitchFamily="34" charset="0"/>
          <a:ea typeface="楷体_GB2312" pitchFamily="49" charset="-122"/>
          <a:cs typeface="Arial" pitchFamily="34" charset="0"/>
        </a:defRPr>
      </a:lvl1pPr>
      <a:lvl2pPr marL="361950" indent="-180975" algn="l" defTabSz="1019007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rgbClr val="000000"/>
          </a:solidFill>
          <a:latin typeface="Arial" pitchFamily="34" charset="0"/>
          <a:ea typeface="楷体_GB2312" pitchFamily="49" charset="-122"/>
          <a:cs typeface="Arial" pitchFamily="34" charset="0"/>
        </a:defRPr>
      </a:lvl2pPr>
      <a:lvl3pPr marL="542925" indent="-180975" algn="l" defTabSz="1019007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rgbClr val="000000"/>
          </a:solidFill>
          <a:latin typeface="Arial" pitchFamily="34" charset="0"/>
          <a:ea typeface="楷体_GB2312" pitchFamily="49" charset="-122"/>
          <a:cs typeface="Arial" pitchFamily="34" charset="0"/>
        </a:defRPr>
      </a:lvl3pPr>
      <a:lvl4pPr marL="809625" indent="-238125" algn="l" defTabSz="1019007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Arial" pitchFamily="34" charset="0"/>
          <a:ea typeface="楷体_GB2312" pitchFamily="49" charset="-122"/>
          <a:cs typeface="Arial" pitchFamily="34" charset="0"/>
        </a:defRPr>
      </a:lvl4pPr>
      <a:lvl5pPr marL="990600" indent="-180975" algn="l" defTabSz="101900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楷体_GB2312" pitchFamily="49" charset="-122"/>
          <a:cs typeface="Arial" pitchFamily="34" charset="0"/>
        </a:defRPr>
      </a:lvl5pPr>
      <a:lvl6pPr marL="2802270" indent="-254752" algn="l" defTabSz="101900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1774" indent="-254752" algn="l" defTabSz="101900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21278" indent="-254752" algn="l" defTabSz="101900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30781" indent="-254752" algn="l" defTabSz="1019007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504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9007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511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8015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518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7022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6526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6029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microsoft.com/office/2014/relationships/chartEx" Target="../charts/chartEx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14/relationships/chartEx" Target="../charts/chartEx6.xml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microsoft.com/office/2014/relationships/chartEx" Target="../charts/chartEx3.xml"/><Relationship Id="rId1" Type="http://schemas.openxmlformats.org/officeDocument/2006/relationships/slideLayout" Target="../slideLayouts/slideLayout4.xml"/><Relationship Id="rId6" Type="http://schemas.microsoft.com/office/2014/relationships/chartEx" Target="../charts/chartEx5.xml"/><Relationship Id="rId5" Type="http://schemas.openxmlformats.org/officeDocument/2006/relationships/image" Target="../media/image8.png"/><Relationship Id="rId4" Type="http://schemas.microsoft.com/office/2014/relationships/chartEx" Target="../charts/chartEx4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14/relationships/chartEx" Target="../charts/chartEx10.xml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microsoft.com/office/2014/relationships/chartEx" Target="../charts/chartEx7.xml"/><Relationship Id="rId1" Type="http://schemas.openxmlformats.org/officeDocument/2006/relationships/slideLayout" Target="../slideLayouts/slideLayout4.xml"/><Relationship Id="rId6" Type="http://schemas.microsoft.com/office/2014/relationships/chartEx" Target="../charts/chartEx9.xml"/><Relationship Id="rId5" Type="http://schemas.openxmlformats.org/officeDocument/2006/relationships/image" Target="../media/image12.png"/><Relationship Id="rId4" Type="http://schemas.microsoft.com/office/2014/relationships/chartEx" Target="../charts/chartEx8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2" descr="C:\Documents and Settings\dingdi\桌面\图片3.jpg">
            <a:extLst>
              <a:ext uri="{FF2B5EF4-FFF2-40B4-BE49-F238E27FC236}">
                <a16:creationId xmlns:a16="http://schemas.microsoft.com/office/drawing/2014/main" id="{D50EDF09-85EB-4598-AA4C-EE4CCC7540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4247034"/>
            <a:ext cx="10059988" cy="3513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组合 1">
            <a:extLst>
              <a:ext uri="{FF2B5EF4-FFF2-40B4-BE49-F238E27FC236}">
                <a16:creationId xmlns:a16="http://schemas.microsoft.com/office/drawing/2014/main" id="{1C84F191-86F2-461B-9D12-BB7BFB82BB13}"/>
              </a:ext>
            </a:extLst>
          </p:cNvPr>
          <p:cNvGrpSpPr/>
          <p:nvPr/>
        </p:nvGrpSpPr>
        <p:grpSpPr>
          <a:xfrm>
            <a:off x="10042088" y="1035460"/>
            <a:ext cx="720000" cy="3220658"/>
            <a:chOff x="10042088" y="1035460"/>
            <a:chExt cx="720000" cy="3220658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D969382B-9BC0-4977-B9A5-B55390EC05B8}"/>
                </a:ext>
              </a:extLst>
            </p:cNvPr>
            <p:cNvSpPr/>
            <p:nvPr/>
          </p:nvSpPr>
          <p:spPr>
            <a:xfrm>
              <a:off x="10042088" y="1687625"/>
              <a:ext cx="720000" cy="612000"/>
            </a:xfrm>
            <a:prstGeom prst="rect">
              <a:avLst/>
            </a:prstGeom>
            <a:solidFill>
              <a:srgbClr val="626A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117A3A89-E00A-4597-AB91-619076125421}"/>
                </a:ext>
              </a:extLst>
            </p:cNvPr>
            <p:cNvSpPr/>
            <p:nvPr/>
          </p:nvSpPr>
          <p:spPr>
            <a:xfrm>
              <a:off x="10042088" y="1035460"/>
              <a:ext cx="720000" cy="612000"/>
            </a:xfrm>
            <a:prstGeom prst="rect">
              <a:avLst/>
            </a:prstGeom>
            <a:solidFill>
              <a:srgbClr val="92A2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13677622-4FF1-4F4E-8CE1-5C3A10FAB70C}"/>
                </a:ext>
              </a:extLst>
            </p:cNvPr>
            <p:cNvSpPr/>
            <p:nvPr/>
          </p:nvSpPr>
          <p:spPr>
            <a:xfrm>
              <a:off x="10042088" y="3644118"/>
              <a:ext cx="720000" cy="612000"/>
            </a:xfrm>
            <a:prstGeom prst="rect">
              <a:avLst/>
            </a:prstGeom>
            <a:solidFill>
              <a:srgbClr val="BAC0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D45F8E4F-4C82-4E8D-856A-80F4886C17D4}"/>
                </a:ext>
              </a:extLst>
            </p:cNvPr>
            <p:cNvSpPr/>
            <p:nvPr/>
          </p:nvSpPr>
          <p:spPr>
            <a:xfrm>
              <a:off x="10042088" y="2339790"/>
              <a:ext cx="720000" cy="612000"/>
            </a:xfrm>
            <a:prstGeom prst="rect">
              <a:avLst/>
            </a:prstGeom>
            <a:solidFill>
              <a:srgbClr val="DBB2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4E5E1761-D831-43D7-82FE-088BA31C6C4D}"/>
                </a:ext>
              </a:extLst>
            </p:cNvPr>
            <p:cNvSpPr/>
            <p:nvPr/>
          </p:nvSpPr>
          <p:spPr>
            <a:xfrm>
              <a:off x="10042088" y="2991955"/>
              <a:ext cx="720000" cy="612000"/>
            </a:xfrm>
            <a:prstGeom prst="rect">
              <a:avLst/>
            </a:prstGeom>
            <a:solidFill>
              <a:srgbClr val="CEC4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0CB508D9-268B-4D50-8818-7F49B06E9593}"/>
              </a:ext>
            </a:extLst>
          </p:cNvPr>
          <p:cNvGrpSpPr/>
          <p:nvPr/>
        </p:nvGrpSpPr>
        <p:grpSpPr>
          <a:xfrm>
            <a:off x="-1594742" y="-1438"/>
            <a:ext cx="1619224" cy="1630448"/>
            <a:chOff x="6016241" y="529839"/>
            <a:chExt cx="6079722" cy="5731022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642EED92-4E2D-402C-8CF6-D9B8F552CD4D}"/>
                </a:ext>
              </a:extLst>
            </p:cNvPr>
            <p:cNvSpPr/>
            <p:nvPr userDrawn="1"/>
          </p:nvSpPr>
          <p:spPr bwMode="auto">
            <a:xfrm>
              <a:off x="6195702" y="529839"/>
              <a:ext cx="5571858" cy="56573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zh-CN" altLang="en-US" sz="1800" b="0" i="0" u="none" strike="noStrike" cap="none" normalizeH="0" baseline="0">
                <a:ln>
                  <a:noFill/>
                </a:ln>
                <a:solidFill>
                  <a:srgbClr val="003399"/>
                </a:solidFill>
                <a:effectLst/>
                <a:latin typeface="黑体" pitchFamily="49" charset="-122"/>
                <a:ea typeface="黑体" pitchFamily="49" charset="-122"/>
              </a:endParaRPr>
            </a:p>
          </p:txBody>
        </p:sp>
        <p:pic>
          <p:nvPicPr>
            <p:cNvPr id="58" name="图片 57">
              <a:extLst>
                <a:ext uri="{FF2B5EF4-FFF2-40B4-BE49-F238E27FC236}">
                  <a16:creationId xmlns:a16="http://schemas.microsoft.com/office/drawing/2014/main" id="{AF4A99CD-ED6A-4014-AFDD-E3503F41B5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16241" y="600083"/>
              <a:ext cx="6079722" cy="5660778"/>
            </a:xfrm>
            <a:prstGeom prst="rect">
              <a:avLst/>
            </a:prstGeom>
          </p:spPr>
        </p:pic>
      </p:grpSp>
      <p:sp>
        <p:nvSpPr>
          <p:cNvPr id="59" name="矩形 58">
            <a:extLst>
              <a:ext uri="{FF2B5EF4-FFF2-40B4-BE49-F238E27FC236}">
                <a16:creationId xmlns:a16="http://schemas.microsoft.com/office/drawing/2014/main" id="{19939E4D-7329-4CC8-B8D4-A67B0BD13141}"/>
              </a:ext>
            </a:extLst>
          </p:cNvPr>
          <p:cNvSpPr/>
          <p:nvPr/>
        </p:nvSpPr>
        <p:spPr>
          <a:xfrm>
            <a:off x="0" y="2632273"/>
            <a:ext cx="10058400" cy="1214565"/>
          </a:xfrm>
          <a:prstGeom prst="rect">
            <a:avLst/>
          </a:prstGeom>
          <a:solidFill>
            <a:srgbClr val="626A7B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2" tIns="45711" rIns="91422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60" name="customname">
            <a:extLst>
              <a:ext uri="{FF2B5EF4-FFF2-40B4-BE49-F238E27FC236}">
                <a16:creationId xmlns:a16="http://schemas.microsoft.com/office/drawing/2014/main" id="{35E63706-EC60-4977-A7A7-C9683BB7F21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4668" y="2991955"/>
            <a:ext cx="7909065" cy="495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8" tIns="45689" rIns="91378" bIns="45689" anchor="ctr"/>
          <a:lstStyle/>
          <a:p>
            <a:pPr marL="0" algn="just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zh-CN" altLang="zh-CN" sz="2800" b="1" i="0" u="none" strike="noStrike" kern="1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楷体_GB2312" panose="02010609030101010101" pitchFamily="49" charset="-122"/>
              </a:rPr>
              <a:t>如何有效对冲权益指数回撤风险</a:t>
            </a:r>
            <a:endParaRPr lang="zh-CN" altLang="zh-CN" sz="2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r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altLang="zh-CN" sz="2800" b="1" kern="100" dirty="0">
                <a:solidFill>
                  <a:srgbClr val="FFFFFF"/>
                </a:solidFill>
                <a:latin typeface="Arial" panose="020B0604020202020204" pitchFamily="34" charset="0"/>
                <a:ea typeface="楷体_GB2312" panose="02010609030101010101" pitchFamily="49" charset="-122"/>
              </a:rPr>
              <a:t>——</a:t>
            </a:r>
            <a:r>
              <a:rPr lang="zh-CN" altLang="zh-CN" sz="2800" b="1" i="0" u="none" strike="noStrike" kern="1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楷体_GB2312" panose="02010609030101010101" pitchFamily="49" charset="-122"/>
              </a:rPr>
              <a:t>新型风险对冲工具雪球式期权的定价建议</a:t>
            </a:r>
            <a:endParaRPr lang="zh-CN" altLang="zh-CN" sz="2800" b="0" i="0" u="none" strike="noStrike" dirty="0">
              <a:effectLst/>
              <a:latin typeface="Arial" panose="020B0604020202020204" pitchFamily="34" charset="0"/>
            </a:endParaRPr>
          </a:p>
        </p:txBody>
      </p:sp>
      <p:sp>
        <p:nvSpPr>
          <p:cNvPr id="61" name="date">
            <a:extLst>
              <a:ext uri="{FF2B5EF4-FFF2-40B4-BE49-F238E27FC236}">
                <a16:creationId xmlns:a16="http://schemas.microsoft.com/office/drawing/2014/main" id="{296895DC-5486-4681-A2E0-EFD5B828C4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19470" y="4391386"/>
            <a:ext cx="3419460" cy="43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1" tIns="45676" rIns="91351" bIns="45676" anchor="ctr"/>
          <a:lstStyle>
            <a:lvl1pPr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9pPr>
          </a:lstStyle>
          <a:p>
            <a:pPr algn="ctr" defTabSz="1018640" eaLnBrk="1" hangingPunct="1">
              <a:spcBef>
                <a:spcPct val="30000"/>
              </a:spcBef>
              <a:spcAft>
                <a:spcPct val="10000"/>
              </a:spcAft>
            </a:pPr>
            <a:endParaRPr lang="zh-CN" altLang="en-US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CED93B43-84BD-437A-851D-F0F3239EE1C1}"/>
              </a:ext>
            </a:extLst>
          </p:cNvPr>
          <p:cNvSpPr/>
          <p:nvPr/>
        </p:nvSpPr>
        <p:spPr>
          <a:xfrm>
            <a:off x="0" y="3937404"/>
            <a:ext cx="10058400" cy="71985"/>
          </a:xfrm>
          <a:prstGeom prst="rect">
            <a:avLst/>
          </a:prstGeom>
          <a:solidFill>
            <a:srgbClr val="626A7B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22" tIns="45711" rIns="91422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64" name="date">
            <a:extLst>
              <a:ext uri="{FF2B5EF4-FFF2-40B4-BE49-F238E27FC236}">
                <a16:creationId xmlns:a16="http://schemas.microsoft.com/office/drawing/2014/main" id="{379A4EAC-790B-40F4-9323-015530F688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26775" y="6814802"/>
            <a:ext cx="3420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9" tIns="45685" rIns="91369" bIns="45685" anchor="ctr"/>
          <a:lstStyle>
            <a:lvl1pPr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SzPct val="60000"/>
              <a:buFont typeface="Monotype Sorts" pitchFamily="2" charset="2"/>
              <a:defRPr kumimoji="1" sz="1400">
                <a:solidFill>
                  <a:schemeClr val="tx1"/>
                </a:solidFill>
                <a:latin typeface="Times New Roman" pitchFamily="18" charset="0"/>
                <a:ea typeface="楷体_GB2312" pitchFamily="49" charset="-122"/>
              </a:defRPr>
            </a:lvl9pPr>
          </a:lstStyle>
          <a:p>
            <a:pPr algn="ctr" defTabSz="1018844" eaLnBrk="1" hangingPunct="1">
              <a:spcBef>
                <a:spcPct val="30000"/>
              </a:spcBef>
              <a:spcAft>
                <a:spcPct val="10000"/>
              </a:spcAft>
            </a:pPr>
            <a:r>
              <a:rPr lang="zh-CN" altLang="en-US" b="1" dirty="0">
                <a:solidFill>
                  <a:prstClr val="black"/>
                </a:solidFill>
                <a:latin typeface="Arial" pitchFamily="34" charset="0"/>
              </a:rPr>
              <a:t>广发证券发展研究中心金工组 陈梦玄</a:t>
            </a:r>
          </a:p>
          <a:p>
            <a:pPr algn="ctr" defTabSz="1018844" eaLnBrk="1" hangingPunct="1">
              <a:spcBef>
                <a:spcPct val="30000"/>
              </a:spcBef>
              <a:spcAft>
                <a:spcPct val="10000"/>
              </a:spcAft>
            </a:pPr>
            <a:r>
              <a:rPr lang="en-US" altLang="zh-CN" b="1" dirty="0">
                <a:solidFill>
                  <a:prstClr val="black"/>
                </a:solidFill>
                <a:latin typeface="Arial" pitchFamily="34" charset="0"/>
              </a:rPr>
              <a:t>2021</a:t>
            </a:r>
            <a:r>
              <a:rPr lang="zh-CN" altLang="en-US" b="1" dirty="0">
                <a:solidFill>
                  <a:prstClr val="black"/>
                </a:solidFill>
                <a:latin typeface="Arial" pitchFamily="34" charset="0"/>
              </a:rPr>
              <a:t>年</a:t>
            </a:r>
            <a:r>
              <a:rPr lang="en-US" altLang="zh-CN" b="1" dirty="0">
                <a:solidFill>
                  <a:prstClr val="black"/>
                </a:solidFill>
                <a:latin typeface="Arial" pitchFamily="34" charset="0"/>
              </a:rPr>
              <a:t>3</a:t>
            </a:r>
            <a:r>
              <a:rPr lang="zh-CN" altLang="en-US" b="1" dirty="0">
                <a:solidFill>
                  <a:prstClr val="black"/>
                </a:solidFill>
                <a:latin typeface="Arial" pitchFamily="34" charset="0"/>
              </a:rPr>
              <a:t>月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D3038BCC-7130-4386-91F2-62F0CCC1B538}"/>
              </a:ext>
            </a:extLst>
          </p:cNvPr>
          <p:cNvSpPr/>
          <p:nvPr/>
        </p:nvSpPr>
        <p:spPr>
          <a:xfrm>
            <a:off x="7806907" y="1803046"/>
            <a:ext cx="348574" cy="348536"/>
          </a:xfrm>
          <a:prstGeom prst="rect">
            <a:avLst/>
          </a:prstGeom>
          <a:solidFill>
            <a:srgbClr val="BAC0D8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623303D1-FEEE-40C1-B44E-E19B2D0F6101}"/>
              </a:ext>
            </a:extLst>
          </p:cNvPr>
          <p:cNvSpPr/>
          <p:nvPr/>
        </p:nvSpPr>
        <p:spPr>
          <a:xfrm>
            <a:off x="8561549" y="1438902"/>
            <a:ext cx="348574" cy="348536"/>
          </a:xfrm>
          <a:prstGeom prst="rect">
            <a:avLst/>
          </a:prstGeom>
          <a:solidFill>
            <a:srgbClr val="BAC0D8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25D6F720-DFFA-4C95-B213-9B8A5BB23804}"/>
              </a:ext>
            </a:extLst>
          </p:cNvPr>
          <p:cNvSpPr/>
          <p:nvPr/>
        </p:nvSpPr>
        <p:spPr>
          <a:xfrm>
            <a:off x="8184228" y="1068257"/>
            <a:ext cx="348574" cy="348536"/>
          </a:xfrm>
          <a:prstGeom prst="rect">
            <a:avLst/>
          </a:prstGeom>
          <a:solidFill>
            <a:srgbClr val="BAC0D8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3" name="矩形 92">
            <a:extLst>
              <a:ext uri="{FF2B5EF4-FFF2-40B4-BE49-F238E27FC236}">
                <a16:creationId xmlns:a16="http://schemas.microsoft.com/office/drawing/2014/main" id="{77F6F127-EAAA-4014-945D-3C48196B1855}"/>
              </a:ext>
            </a:extLst>
          </p:cNvPr>
          <p:cNvSpPr/>
          <p:nvPr/>
        </p:nvSpPr>
        <p:spPr>
          <a:xfrm>
            <a:off x="7052264" y="1438902"/>
            <a:ext cx="348574" cy="348536"/>
          </a:xfrm>
          <a:prstGeom prst="rect">
            <a:avLst/>
          </a:prstGeom>
          <a:solidFill>
            <a:srgbClr val="BAC0D8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83409B52-F646-4140-9D76-15AB392DABCC}"/>
              </a:ext>
            </a:extLst>
          </p:cNvPr>
          <p:cNvSpPr/>
          <p:nvPr/>
        </p:nvSpPr>
        <p:spPr>
          <a:xfrm>
            <a:off x="8561549" y="1068257"/>
            <a:ext cx="348574" cy="348536"/>
          </a:xfrm>
          <a:prstGeom prst="rect">
            <a:avLst/>
          </a:prstGeom>
          <a:solidFill>
            <a:srgbClr val="BAC0D8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BB7DEA02-4953-4B48-8E2B-6237F722F644}"/>
              </a:ext>
            </a:extLst>
          </p:cNvPr>
          <p:cNvSpPr/>
          <p:nvPr/>
        </p:nvSpPr>
        <p:spPr>
          <a:xfrm>
            <a:off x="8938871" y="709368"/>
            <a:ext cx="348574" cy="348536"/>
          </a:xfrm>
          <a:prstGeom prst="rect">
            <a:avLst/>
          </a:prstGeom>
          <a:solidFill>
            <a:srgbClr val="BAC0D8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BEB48C51-7236-4122-98A9-07E8B0B07055}"/>
              </a:ext>
            </a:extLst>
          </p:cNvPr>
          <p:cNvSpPr/>
          <p:nvPr/>
        </p:nvSpPr>
        <p:spPr>
          <a:xfrm>
            <a:off x="8938871" y="358585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158E6F53-EDA1-44EA-9856-09C7E3E246B0}"/>
              </a:ext>
            </a:extLst>
          </p:cNvPr>
          <p:cNvSpPr/>
          <p:nvPr/>
        </p:nvSpPr>
        <p:spPr>
          <a:xfrm>
            <a:off x="9316192" y="1068257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8" name="矩形 97">
            <a:extLst>
              <a:ext uri="{FF2B5EF4-FFF2-40B4-BE49-F238E27FC236}">
                <a16:creationId xmlns:a16="http://schemas.microsoft.com/office/drawing/2014/main" id="{494FFF75-42DC-4330-9BE2-84E987D7FE94}"/>
              </a:ext>
            </a:extLst>
          </p:cNvPr>
          <p:cNvSpPr/>
          <p:nvPr/>
        </p:nvSpPr>
        <p:spPr>
          <a:xfrm>
            <a:off x="8938871" y="1438902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68CE7CD4-267E-4E6C-B245-8997E46F23D7}"/>
              </a:ext>
            </a:extLst>
          </p:cNvPr>
          <p:cNvSpPr/>
          <p:nvPr/>
        </p:nvSpPr>
        <p:spPr>
          <a:xfrm>
            <a:off x="8561549" y="1803046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0" name="矩形 99">
            <a:extLst>
              <a:ext uri="{FF2B5EF4-FFF2-40B4-BE49-F238E27FC236}">
                <a16:creationId xmlns:a16="http://schemas.microsoft.com/office/drawing/2014/main" id="{7E07B5B0-288F-4D0C-8B56-3C9AFAD0AB37}"/>
              </a:ext>
            </a:extLst>
          </p:cNvPr>
          <p:cNvSpPr/>
          <p:nvPr/>
        </p:nvSpPr>
        <p:spPr>
          <a:xfrm>
            <a:off x="9316192" y="1803046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1" name="矩形 100">
            <a:extLst>
              <a:ext uri="{FF2B5EF4-FFF2-40B4-BE49-F238E27FC236}">
                <a16:creationId xmlns:a16="http://schemas.microsoft.com/office/drawing/2014/main" id="{B77F08DC-A62A-4A45-B786-ED0917FFD8DE}"/>
              </a:ext>
            </a:extLst>
          </p:cNvPr>
          <p:cNvSpPr/>
          <p:nvPr/>
        </p:nvSpPr>
        <p:spPr>
          <a:xfrm>
            <a:off x="7806907" y="1068257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2" name="矩形 101">
            <a:extLst>
              <a:ext uri="{FF2B5EF4-FFF2-40B4-BE49-F238E27FC236}">
                <a16:creationId xmlns:a16="http://schemas.microsoft.com/office/drawing/2014/main" id="{B7695B33-ADEA-4D6A-A327-88B7FC3C1546}"/>
              </a:ext>
            </a:extLst>
          </p:cNvPr>
          <p:cNvSpPr/>
          <p:nvPr/>
        </p:nvSpPr>
        <p:spPr>
          <a:xfrm>
            <a:off x="8184228" y="1438902"/>
            <a:ext cx="348574" cy="348536"/>
          </a:xfrm>
          <a:prstGeom prst="rect">
            <a:avLst/>
          </a:prstGeom>
          <a:solidFill>
            <a:srgbClr val="BAC0D8">
              <a:alpha val="41961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3" name="矩形 102">
            <a:extLst>
              <a:ext uri="{FF2B5EF4-FFF2-40B4-BE49-F238E27FC236}">
                <a16:creationId xmlns:a16="http://schemas.microsoft.com/office/drawing/2014/main" id="{E63D58B3-80EF-48B1-A88E-4659F82545F8}"/>
              </a:ext>
            </a:extLst>
          </p:cNvPr>
          <p:cNvSpPr/>
          <p:nvPr/>
        </p:nvSpPr>
        <p:spPr>
          <a:xfrm>
            <a:off x="8184228" y="2170306"/>
            <a:ext cx="348574" cy="348536"/>
          </a:xfrm>
          <a:prstGeom prst="rect">
            <a:avLst/>
          </a:prstGeom>
          <a:solidFill>
            <a:srgbClr val="BAC0D8">
              <a:alpha val="41961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59767629-87F8-4BE4-B11B-E128F5028554}"/>
              </a:ext>
            </a:extLst>
          </p:cNvPr>
          <p:cNvSpPr/>
          <p:nvPr/>
        </p:nvSpPr>
        <p:spPr>
          <a:xfrm>
            <a:off x="7806907" y="1438902"/>
            <a:ext cx="348574" cy="348536"/>
          </a:xfrm>
          <a:prstGeom prst="rect">
            <a:avLst/>
          </a:prstGeom>
          <a:solidFill>
            <a:srgbClr val="BAC0D8">
              <a:alpha val="41961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A95D079B-B674-4408-B971-A5D5DC273A7A}"/>
              </a:ext>
            </a:extLst>
          </p:cNvPr>
          <p:cNvSpPr/>
          <p:nvPr/>
        </p:nvSpPr>
        <p:spPr>
          <a:xfrm>
            <a:off x="8184228" y="709368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6" name="矩形 105">
            <a:extLst>
              <a:ext uri="{FF2B5EF4-FFF2-40B4-BE49-F238E27FC236}">
                <a16:creationId xmlns:a16="http://schemas.microsoft.com/office/drawing/2014/main" id="{71BE7452-E1EE-4324-8454-F25467051E9F}"/>
              </a:ext>
            </a:extLst>
          </p:cNvPr>
          <p:cNvSpPr/>
          <p:nvPr/>
        </p:nvSpPr>
        <p:spPr>
          <a:xfrm>
            <a:off x="7052264" y="1068257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5D2EE06F-7C66-418E-8660-234252E68B5D}"/>
              </a:ext>
            </a:extLst>
          </p:cNvPr>
          <p:cNvSpPr/>
          <p:nvPr/>
        </p:nvSpPr>
        <p:spPr>
          <a:xfrm>
            <a:off x="6674942" y="1438902"/>
            <a:ext cx="348574" cy="348536"/>
          </a:xfrm>
          <a:prstGeom prst="rect">
            <a:avLst/>
          </a:prstGeom>
          <a:solidFill>
            <a:srgbClr val="BAC0D8">
              <a:alpha val="52157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8" name="矩形 107">
            <a:extLst>
              <a:ext uri="{FF2B5EF4-FFF2-40B4-BE49-F238E27FC236}">
                <a16:creationId xmlns:a16="http://schemas.microsoft.com/office/drawing/2014/main" id="{77549BDA-9C0A-412A-BECB-72E7CAEF1FB8}"/>
              </a:ext>
            </a:extLst>
          </p:cNvPr>
          <p:cNvSpPr/>
          <p:nvPr/>
        </p:nvSpPr>
        <p:spPr>
          <a:xfrm>
            <a:off x="9316192" y="358585"/>
            <a:ext cx="348574" cy="348536"/>
          </a:xfrm>
          <a:prstGeom prst="rect">
            <a:avLst/>
          </a:prstGeom>
          <a:solidFill>
            <a:srgbClr val="BAC0D8">
              <a:alpha val="41961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C7DF1A3E-50C2-43B3-841C-1E5F0A9CD888}"/>
              </a:ext>
            </a:extLst>
          </p:cNvPr>
          <p:cNvSpPr/>
          <p:nvPr/>
        </p:nvSpPr>
        <p:spPr>
          <a:xfrm>
            <a:off x="9693514" y="358585"/>
            <a:ext cx="348574" cy="348536"/>
          </a:xfrm>
          <a:prstGeom prst="rect">
            <a:avLst/>
          </a:prstGeom>
          <a:solidFill>
            <a:srgbClr val="BAC0D8">
              <a:alpha val="16863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977CD752-102E-4534-A473-8B09F9C6ECFF}"/>
              </a:ext>
            </a:extLst>
          </p:cNvPr>
          <p:cNvSpPr/>
          <p:nvPr/>
        </p:nvSpPr>
        <p:spPr>
          <a:xfrm>
            <a:off x="9693514" y="1068257"/>
            <a:ext cx="348574" cy="348536"/>
          </a:xfrm>
          <a:prstGeom prst="rect">
            <a:avLst/>
          </a:prstGeom>
          <a:solidFill>
            <a:srgbClr val="BAC0D8">
              <a:alpha val="16863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F56F3297-2455-4806-AF6D-9444EAB6E70C}"/>
              </a:ext>
            </a:extLst>
          </p:cNvPr>
          <p:cNvSpPr/>
          <p:nvPr/>
        </p:nvSpPr>
        <p:spPr>
          <a:xfrm>
            <a:off x="8938871" y="1068257"/>
            <a:ext cx="348574" cy="348536"/>
          </a:xfrm>
          <a:prstGeom prst="rect">
            <a:avLst/>
          </a:prstGeom>
          <a:solidFill>
            <a:srgbClr val="BAC0D8">
              <a:alpha val="16863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29DEB434-9D77-4E4B-9C7A-C49C2E06CAD2}"/>
              </a:ext>
            </a:extLst>
          </p:cNvPr>
          <p:cNvSpPr/>
          <p:nvPr/>
        </p:nvSpPr>
        <p:spPr>
          <a:xfrm>
            <a:off x="8184228" y="1803046"/>
            <a:ext cx="348574" cy="348536"/>
          </a:xfrm>
          <a:prstGeom prst="rect">
            <a:avLst/>
          </a:prstGeom>
          <a:solidFill>
            <a:srgbClr val="BAC0D8">
              <a:alpha val="16863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8EB1C53C-61F3-4C0A-890B-568127072CAD}"/>
              </a:ext>
            </a:extLst>
          </p:cNvPr>
          <p:cNvSpPr/>
          <p:nvPr/>
        </p:nvSpPr>
        <p:spPr>
          <a:xfrm>
            <a:off x="7429585" y="1438902"/>
            <a:ext cx="348574" cy="348536"/>
          </a:xfrm>
          <a:prstGeom prst="rect">
            <a:avLst/>
          </a:prstGeom>
          <a:solidFill>
            <a:srgbClr val="BAC0D8">
              <a:alpha val="16863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C408CC14-345F-48CF-81C5-A552922D60DD}"/>
              </a:ext>
            </a:extLst>
          </p:cNvPr>
          <p:cNvSpPr/>
          <p:nvPr/>
        </p:nvSpPr>
        <p:spPr>
          <a:xfrm>
            <a:off x="6297621" y="1803046"/>
            <a:ext cx="348574" cy="348536"/>
          </a:xfrm>
          <a:prstGeom prst="rect">
            <a:avLst/>
          </a:prstGeom>
          <a:solidFill>
            <a:srgbClr val="BAC0D8">
              <a:alpha val="16863"/>
            </a:srgbClr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3717384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矩形 103">
            <a:extLst>
              <a:ext uri="{FF2B5EF4-FFF2-40B4-BE49-F238E27FC236}">
                <a16:creationId xmlns:a16="http://schemas.microsoft.com/office/drawing/2014/main" id="{9CFBC889-0DEC-406B-A1D9-9C4AEA36E967}"/>
              </a:ext>
            </a:extLst>
          </p:cNvPr>
          <p:cNvSpPr/>
          <p:nvPr/>
        </p:nvSpPr>
        <p:spPr>
          <a:xfrm>
            <a:off x="592186" y="4316431"/>
            <a:ext cx="8910587" cy="2987837"/>
          </a:xfrm>
          <a:prstGeom prst="rect">
            <a:avLst/>
          </a:prstGeom>
          <a:solidFill>
            <a:srgbClr val="BAC0D8">
              <a:alpha val="2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63626" y="790650"/>
            <a:ext cx="8997950" cy="561975"/>
          </a:xfrm>
        </p:spPr>
        <p:txBody>
          <a:bodyPr wrap="square" lIns="100838" tIns="50419" rIns="100838" bIns="50419" anchor="t"/>
          <a:lstStyle/>
          <a:p>
            <a:r>
              <a:rPr lang="zh-CN" altLang="en-US" dirty="0"/>
              <a:t>雪球式期权：具有自动敲入敲出结构的奇异期权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FD74BAE-F3A3-4E1A-A2CE-0E97256A2CEF}"/>
              </a:ext>
            </a:extLst>
          </p:cNvPr>
          <p:cNvSpPr/>
          <p:nvPr/>
        </p:nvSpPr>
        <p:spPr>
          <a:xfrm>
            <a:off x="557212" y="1663700"/>
            <a:ext cx="432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自动敲入敲出结构的特点</a:t>
            </a:r>
          </a:p>
        </p:txBody>
      </p:sp>
      <p:sp>
        <p:nvSpPr>
          <p:cNvPr id="32" name="文本占位符 18">
            <a:extLst>
              <a:ext uri="{FF2B5EF4-FFF2-40B4-BE49-F238E27FC236}">
                <a16:creationId xmlns:a16="http://schemas.microsoft.com/office/drawing/2014/main" id="{BE7B37A6-8024-495D-9B14-22E6AE90718F}"/>
              </a:ext>
            </a:extLst>
          </p:cNvPr>
          <p:cNvSpPr txBox="1">
            <a:spLocks/>
          </p:cNvSpPr>
          <p:nvPr/>
        </p:nvSpPr>
        <p:spPr>
          <a:xfrm>
            <a:off x="539002" y="2130073"/>
            <a:ext cx="4320000" cy="1584176"/>
          </a:xfrm>
          <a:prstGeom prst="rect">
            <a:avLst/>
          </a:prstGeom>
        </p:spPr>
        <p:txBody>
          <a:bodyPr vert="horz" lIns="101901" tIns="50950" rIns="101901" bIns="50950" rtlCol="0">
            <a:noAutofit/>
          </a:bodyPr>
          <a:lstStyle>
            <a:lvl1pPr marL="180975" indent="-18097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n"/>
              <a:defRPr sz="1200" kern="120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1pPr>
            <a:lvl2pPr marL="333375" indent="-133350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Arial" pitchFamily="34" charset="0"/>
              <a:buChar char="–"/>
              <a:defRPr sz="1200" kern="120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2pPr>
            <a:lvl3pPr marL="485775" indent="-12382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200" kern="120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3pPr>
            <a:lvl4pPr marL="638175" indent="-14287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ü"/>
              <a:defRPr sz="1200" kern="1200">
                <a:solidFill>
                  <a:schemeClr val="tx1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4pPr>
            <a:lvl5pPr marL="790575" indent="-133350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楷体_GB2312" pitchFamily="49" charset="-122"/>
                <a:cs typeface="Arial" pitchFamily="34" charset="0"/>
              </a:defRPr>
            </a:lvl5pPr>
            <a:lvl6pPr marL="2802270" indent="-254752" algn="l" defTabSz="10190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774" indent="-254752" algn="l" defTabSz="10190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1278" indent="-254752" algn="l" defTabSz="10190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781" indent="-254752" algn="l" defTabSz="101900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/>
              <a:t>期权买方所持有的市场观点：长期不大跌，中长期温和看涨，持有期限越长获利越高，适合震荡上涨行情，不惧宽幅震荡。</a:t>
            </a:r>
          </a:p>
          <a:p>
            <a:r>
              <a:rPr lang="zh-CN" altLang="en-US" sz="1400" dirty="0"/>
              <a:t>雪球式结构仅在产品提前或终止时支付一次现金流。</a:t>
            </a:r>
          </a:p>
          <a:p>
            <a:r>
              <a:rPr lang="zh-CN" altLang="en-US" sz="1400" dirty="0"/>
              <a:t>由于支付的是年化收益率结算的票息，越晚触发敲出，结算时累计的息票金额将越大。</a:t>
            </a:r>
          </a:p>
          <a:p>
            <a:endParaRPr lang="zh-CN" altLang="en-US" sz="1400" dirty="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ADC6C77B-FA8C-4F90-8255-C97495C54D36}"/>
              </a:ext>
            </a:extLst>
          </p:cNvPr>
          <p:cNvSpPr/>
          <p:nvPr/>
        </p:nvSpPr>
        <p:spPr>
          <a:xfrm>
            <a:off x="5208724" y="1663378"/>
            <a:ext cx="432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敲入敲出事件的定义</a:t>
            </a:r>
          </a:p>
        </p:txBody>
      </p:sp>
      <p:graphicFrame>
        <p:nvGraphicFramePr>
          <p:cNvPr id="58" name="Table.7055475">
            <a:extLst>
              <a:ext uri="{FF2B5EF4-FFF2-40B4-BE49-F238E27FC236}">
                <a16:creationId xmlns:a16="http://schemas.microsoft.com/office/drawing/2014/main" id="{426E8B31-FE52-4DC1-858C-DDA570A0A3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4852408"/>
              </p:ext>
            </p:extLst>
          </p:nvPr>
        </p:nvGraphicFramePr>
        <p:xfrm>
          <a:off x="5200987" y="2089749"/>
          <a:ext cx="4301789" cy="18288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147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869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1145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</a:rPr>
                        <a:t>敲入事件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+mj-lt"/>
                        <a:ea typeface="+mn-ea"/>
                      </a:endParaRPr>
                    </a:p>
                  </a:txBody>
                  <a:tcPr marL="18000" marR="18000" marT="0" marB="0" anchor="ctr">
                    <a:solidFill>
                      <a:srgbClr val="CEC4C8">
                        <a:alpha val="7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</a:rPr>
                        <a:t>对标的收盘价每天观察一次：以一年期产品为例，有大约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</a:rPr>
                        <a:t>250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</a:rPr>
                        <a:t>个敲入观察日；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</a:rPr>
                        <a:t>在任何一个敲入观察日，挂钩标的收盘价低于敲入界限（例如约定为期初价格的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</a:rPr>
                        <a:t>70%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</a:rPr>
                        <a:t>），则定义为发生敲入事件。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0" marB="0" anchor="ctr">
                    <a:solidFill>
                      <a:srgbClr val="CEC4C8">
                        <a:alpha val="7098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572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</a:rPr>
                        <a:t>敲出事件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+mj-lt"/>
                        <a:ea typeface="+mn-ea"/>
                      </a:endParaRPr>
                    </a:p>
                  </a:txBody>
                  <a:tcPr marL="18000" marR="18000" marT="0" marB="0" anchor="ctr">
                    <a:solidFill>
                      <a:srgbClr val="CEC4C8">
                        <a:alpha val="7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</a:rPr>
                        <a:t>对标的收盘价每个月观察一次：以一年期产品为例，有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</a:rPr>
                        <a:t>12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</a:rPr>
                        <a:t>个月度观察日；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</a:rPr>
                        <a:t>在任何一个月度观察日，挂钩标的收盘价高于敲出界限（通常约定为期初价格的</a:t>
                      </a:r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</a:rPr>
                        <a:t>100%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</a:rPr>
                        <a:t>），则定义为发生敲出事件。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" marR="18000" marT="0" marB="0" anchor="ctr">
                    <a:solidFill>
                      <a:srgbClr val="CEC4C8">
                        <a:alpha val="7098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9" name="矩形 58">
            <a:extLst>
              <a:ext uri="{FF2B5EF4-FFF2-40B4-BE49-F238E27FC236}">
                <a16:creationId xmlns:a16="http://schemas.microsoft.com/office/drawing/2014/main" id="{26BDA1A5-7F86-4D03-8A61-019B8A746952}"/>
              </a:ext>
            </a:extLst>
          </p:cNvPr>
          <p:cNvSpPr/>
          <p:nvPr/>
        </p:nvSpPr>
        <p:spPr>
          <a:xfrm>
            <a:off x="563923" y="3918549"/>
            <a:ext cx="8938851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对应三类情景下的产品收益分析</a:t>
            </a:r>
          </a:p>
        </p:txBody>
      </p:sp>
      <p:cxnSp>
        <p:nvCxnSpPr>
          <p:cNvPr id="60" name="直接箭头连接符 59">
            <a:extLst>
              <a:ext uri="{FF2B5EF4-FFF2-40B4-BE49-F238E27FC236}">
                <a16:creationId xmlns:a16="http://schemas.microsoft.com/office/drawing/2014/main" id="{7A2698DA-C5DF-4403-83C4-5C77D43C1E07}"/>
              </a:ext>
            </a:extLst>
          </p:cNvPr>
          <p:cNvCxnSpPr>
            <a:cxnSpLocks/>
          </p:cNvCxnSpPr>
          <p:nvPr/>
        </p:nvCxnSpPr>
        <p:spPr>
          <a:xfrm>
            <a:off x="1366955" y="5316272"/>
            <a:ext cx="7983519" cy="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箭头连接符 61">
            <a:extLst>
              <a:ext uri="{FF2B5EF4-FFF2-40B4-BE49-F238E27FC236}">
                <a16:creationId xmlns:a16="http://schemas.microsoft.com/office/drawing/2014/main" id="{DE24FAB7-86F4-4D9F-B750-3C4B5316FA7E}"/>
              </a:ext>
            </a:extLst>
          </p:cNvPr>
          <p:cNvCxnSpPr>
            <a:cxnSpLocks/>
          </p:cNvCxnSpPr>
          <p:nvPr/>
        </p:nvCxnSpPr>
        <p:spPr>
          <a:xfrm>
            <a:off x="1413990" y="6047234"/>
            <a:ext cx="7936484" cy="0"/>
          </a:xfrm>
          <a:prstGeom prst="straightConnector1">
            <a:avLst/>
          </a:prstGeom>
          <a:ln w="12700">
            <a:solidFill>
              <a:srgbClr val="000000"/>
            </a:solidFill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文本框 62">
            <a:extLst>
              <a:ext uri="{FF2B5EF4-FFF2-40B4-BE49-F238E27FC236}">
                <a16:creationId xmlns:a16="http://schemas.microsoft.com/office/drawing/2014/main" id="{C6B23B23-9BE0-4D1F-A348-7F278BA323B7}"/>
              </a:ext>
            </a:extLst>
          </p:cNvPr>
          <p:cNvSpPr txBox="1"/>
          <p:nvPr/>
        </p:nvSpPr>
        <p:spPr>
          <a:xfrm>
            <a:off x="502873" y="4842763"/>
            <a:ext cx="864082" cy="633976"/>
          </a:xfrm>
          <a:prstGeom prst="rect">
            <a:avLst/>
          </a:prstGeom>
          <a:noFill/>
        </p:spPr>
        <p:txBody>
          <a:bodyPr wrap="square" lIns="72000" tIns="18000" rIns="72000" bIns="18000" rtlCol="0">
            <a:noAutofit/>
          </a:bodyPr>
          <a:lstStyle/>
          <a:p>
            <a:r>
              <a:rPr lang="zh-CN" altLang="en-US" sz="1400" dirty="0">
                <a:latin typeface="Arial" pitchFamily="34" charset="0"/>
                <a:cs typeface="Arial" pitchFamily="34" charset="0"/>
              </a:rPr>
              <a:t>敲出界限：期初价格的</a:t>
            </a:r>
            <a:r>
              <a:rPr lang="en-US" altLang="zh-CN" sz="1400" dirty="0">
                <a:latin typeface="Arial" pitchFamily="34" charset="0"/>
                <a:cs typeface="Arial" pitchFamily="34" charset="0"/>
              </a:rPr>
              <a:t>100%</a:t>
            </a:r>
            <a:endParaRPr lang="zh-CN" alt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5ADB9BAC-FA5C-48D5-8964-152D036927D9}"/>
              </a:ext>
            </a:extLst>
          </p:cNvPr>
          <p:cNvSpPr txBox="1"/>
          <p:nvPr/>
        </p:nvSpPr>
        <p:spPr>
          <a:xfrm>
            <a:off x="508678" y="5887588"/>
            <a:ext cx="864082" cy="633976"/>
          </a:xfrm>
          <a:prstGeom prst="rect">
            <a:avLst/>
          </a:prstGeom>
          <a:noFill/>
        </p:spPr>
        <p:txBody>
          <a:bodyPr wrap="square" lIns="72000" tIns="18000" rIns="72000" bIns="18000" rtlCol="0">
            <a:noAutofit/>
          </a:bodyPr>
          <a:lstStyle/>
          <a:p>
            <a:r>
              <a:rPr lang="zh-CN" altLang="en-US" sz="1400" dirty="0">
                <a:latin typeface="Arial" pitchFamily="34" charset="0"/>
                <a:cs typeface="Arial" pitchFamily="34" charset="0"/>
              </a:rPr>
              <a:t>敲入界限：期初价格的</a:t>
            </a:r>
            <a:r>
              <a:rPr lang="en-US" altLang="zh-CN" sz="1400" dirty="0">
                <a:latin typeface="Arial" pitchFamily="34" charset="0"/>
                <a:cs typeface="Arial" pitchFamily="34" charset="0"/>
              </a:rPr>
              <a:t>70%</a:t>
            </a:r>
            <a:endParaRPr lang="zh-CN" alt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C8F5D73E-3756-4311-A3E4-652556771809}"/>
              </a:ext>
            </a:extLst>
          </p:cNvPr>
          <p:cNvSpPr txBox="1"/>
          <p:nvPr/>
        </p:nvSpPr>
        <p:spPr>
          <a:xfrm>
            <a:off x="2194110" y="5316272"/>
            <a:ext cx="864082" cy="302886"/>
          </a:xfrm>
          <a:prstGeom prst="rect">
            <a:avLst/>
          </a:prstGeom>
          <a:noFill/>
        </p:spPr>
        <p:txBody>
          <a:bodyPr wrap="square" lIns="72000" tIns="18000" rIns="72000" bIns="18000" rtlCol="0">
            <a:noAutofit/>
          </a:bodyPr>
          <a:lstStyle/>
          <a:p>
            <a:r>
              <a:rPr lang="en-US" altLang="zh-CN" sz="1400" dirty="0">
                <a:latin typeface="Arial" pitchFamily="34" charset="0"/>
                <a:cs typeface="Arial" pitchFamily="34" charset="0"/>
              </a:rPr>
              <a:t>3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个月</a:t>
            </a: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537182D6-9D55-4960-939C-FE345A1C8056}"/>
              </a:ext>
            </a:extLst>
          </p:cNvPr>
          <p:cNvSpPr txBox="1"/>
          <p:nvPr/>
        </p:nvSpPr>
        <p:spPr>
          <a:xfrm>
            <a:off x="4290577" y="5316272"/>
            <a:ext cx="864082" cy="302886"/>
          </a:xfrm>
          <a:prstGeom prst="rect">
            <a:avLst/>
          </a:prstGeom>
          <a:noFill/>
        </p:spPr>
        <p:txBody>
          <a:bodyPr wrap="square" lIns="72000" tIns="18000" rIns="72000" bIns="18000" rtlCol="0">
            <a:noAutofit/>
          </a:bodyPr>
          <a:lstStyle/>
          <a:p>
            <a:r>
              <a:rPr lang="en-US" altLang="zh-CN" sz="1400" dirty="0">
                <a:latin typeface="Arial" pitchFamily="34" charset="0"/>
                <a:cs typeface="Arial" pitchFamily="34" charset="0"/>
              </a:rPr>
              <a:t>6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个月</a:t>
            </a: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4BC0D43B-7063-4C73-9E8A-FD7B4ADC65EF}"/>
              </a:ext>
            </a:extLst>
          </p:cNvPr>
          <p:cNvSpPr txBox="1"/>
          <p:nvPr/>
        </p:nvSpPr>
        <p:spPr>
          <a:xfrm>
            <a:off x="6387044" y="5316272"/>
            <a:ext cx="864082" cy="302886"/>
          </a:xfrm>
          <a:prstGeom prst="rect">
            <a:avLst/>
          </a:prstGeom>
          <a:noFill/>
        </p:spPr>
        <p:txBody>
          <a:bodyPr wrap="square" lIns="72000" tIns="18000" rIns="72000" bIns="18000" rtlCol="0">
            <a:noAutofit/>
          </a:bodyPr>
          <a:lstStyle/>
          <a:p>
            <a:r>
              <a:rPr lang="en-US" altLang="zh-CN" sz="1400" dirty="0">
                <a:latin typeface="Arial" pitchFamily="34" charset="0"/>
                <a:cs typeface="Arial" pitchFamily="34" charset="0"/>
              </a:rPr>
              <a:t>9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个月</a:t>
            </a: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B1BA8AC9-B0B2-4DC2-8571-B10000BDBEBB}"/>
              </a:ext>
            </a:extLst>
          </p:cNvPr>
          <p:cNvSpPr txBox="1"/>
          <p:nvPr/>
        </p:nvSpPr>
        <p:spPr>
          <a:xfrm>
            <a:off x="8483510" y="5331370"/>
            <a:ext cx="864082" cy="302886"/>
          </a:xfrm>
          <a:prstGeom prst="rect">
            <a:avLst/>
          </a:prstGeom>
          <a:noFill/>
        </p:spPr>
        <p:txBody>
          <a:bodyPr wrap="square" lIns="72000" tIns="18000" rIns="72000" bIns="18000" rtlCol="0">
            <a:noAutofit/>
          </a:bodyPr>
          <a:lstStyle/>
          <a:p>
            <a:r>
              <a:rPr lang="en-US" altLang="zh-CN" sz="1400" dirty="0">
                <a:latin typeface="Arial" pitchFamily="34" charset="0"/>
                <a:cs typeface="Arial" pitchFamily="34" charset="0"/>
              </a:rPr>
              <a:t>12</a:t>
            </a:r>
            <a:r>
              <a:rPr lang="zh-CN" altLang="en-US" sz="1400" dirty="0">
                <a:latin typeface="Arial" pitchFamily="34" charset="0"/>
                <a:cs typeface="Arial" pitchFamily="34" charset="0"/>
              </a:rPr>
              <a:t>个月</a:t>
            </a:r>
          </a:p>
        </p:txBody>
      </p:sp>
      <p:cxnSp>
        <p:nvCxnSpPr>
          <p:cNvPr id="73" name="直接箭头连接符 72">
            <a:extLst>
              <a:ext uri="{FF2B5EF4-FFF2-40B4-BE49-F238E27FC236}">
                <a16:creationId xmlns:a16="http://schemas.microsoft.com/office/drawing/2014/main" id="{F9EC7AB4-7404-430D-9136-BDCCE9FBB8C1}"/>
              </a:ext>
            </a:extLst>
          </p:cNvPr>
          <p:cNvCxnSpPr>
            <a:cxnSpLocks/>
          </p:cNvCxnSpPr>
          <p:nvPr/>
        </p:nvCxnSpPr>
        <p:spPr>
          <a:xfrm flipV="1">
            <a:off x="1459408" y="4327246"/>
            <a:ext cx="0" cy="1978052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54" name="任意多边形: 形状 2053">
            <a:extLst>
              <a:ext uri="{FF2B5EF4-FFF2-40B4-BE49-F238E27FC236}">
                <a16:creationId xmlns:a16="http://schemas.microsoft.com/office/drawing/2014/main" id="{5B938159-4F9A-46C3-8077-FB2D6EC61314}"/>
              </a:ext>
            </a:extLst>
          </p:cNvPr>
          <p:cNvSpPr/>
          <p:nvPr/>
        </p:nvSpPr>
        <p:spPr>
          <a:xfrm>
            <a:off x="1447800" y="4552950"/>
            <a:ext cx="5695950" cy="1877722"/>
          </a:xfrm>
          <a:custGeom>
            <a:avLst/>
            <a:gdLst>
              <a:gd name="connsiteX0" fmla="*/ 0 w 5695950"/>
              <a:gd name="connsiteY0" fmla="*/ 771525 h 1877722"/>
              <a:gd name="connsiteX1" fmla="*/ 47625 w 5695950"/>
              <a:gd name="connsiteY1" fmla="*/ 809625 h 1877722"/>
              <a:gd name="connsiteX2" fmla="*/ 76200 w 5695950"/>
              <a:gd name="connsiteY2" fmla="*/ 876300 h 1877722"/>
              <a:gd name="connsiteX3" fmla="*/ 123825 w 5695950"/>
              <a:gd name="connsiteY3" fmla="*/ 933450 h 1877722"/>
              <a:gd name="connsiteX4" fmla="*/ 133350 w 5695950"/>
              <a:gd name="connsiteY4" fmla="*/ 962025 h 1877722"/>
              <a:gd name="connsiteX5" fmla="*/ 200025 w 5695950"/>
              <a:gd name="connsiteY5" fmla="*/ 1009650 h 1877722"/>
              <a:gd name="connsiteX6" fmla="*/ 228600 w 5695950"/>
              <a:gd name="connsiteY6" fmla="*/ 1038225 h 1877722"/>
              <a:gd name="connsiteX7" fmla="*/ 304800 w 5695950"/>
              <a:gd name="connsiteY7" fmla="*/ 1057275 h 1877722"/>
              <a:gd name="connsiteX8" fmla="*/ 409575 w 5695950"/>
              <a:gd name="connsiteY8" fmla="*/ 1076325 h 1877722"/>
              <a:gd name="connsiteX9" fmla="*/ 1009650 w 5695950"/>
              <a:gd name="connsiteY9" fmla="*/ 1085850 h 1877722"/>
              <a:gd name="connsiteX10" fmla="*/ 1057275 w 5695950"/>
              <a:gd name="connsiteY10" fmla="*/ 1104900 h 1877722"/>
              <a:gd name="connsiteX11" fmla="*/ 1181100 w 5695950"/>
              <a:gd name="connsiteY11" fmla="*/ 1123950 h 1877722"/>
              <a:gd name="connsiteX12" fmla="*/ 1266825 w 5695950"/>
              <a:gd name="connsiteY12" fmla="*/ 1152525 h 1877722"/>
              <a:gd name="connsiteX13" fmla="*/ 1352550 w 5695950"/>
              <a:gd name="connsiteY13" fmla="*/ 1171575 h 1877722"/>
              <a:gd name="connsiteX14" fmla="*/ 1381125 w 5695950"/>
              <a:gd name="connsiteY14" fmla="*/ 1190625 h 1877722"/>
              <a:gd name="connsiteX15" fmla="*/ 1428750 w 5695950"/>
              <a:gd name="connsiteY15" fmla="*/ 1247775 h 1877722"/>
              <a:gd name="connsiteX16" fmla="*/ 1457325 w 5695950"/>
              <a:gd name="connsiteY16" fmla="*/ 1257300 h 1877722"/>
              <a:gd name="connsiteX17" fmla="*/ 1485900 w 5695950"/>
              <a:gd name="connsiteY17" fmla="*/ 1295400 h 1877722"/>
              <a:gd name="connsiteX18" fmla="*/ 1533525 w 5695950"/>
              <a:gd name="connsiteY18" fmla="*/ 1343025 h 1877722"/>
              <a:gd name="connsiteX19" fmla="*/ 1571625 w 5695950"/>
              <a:gd name="connsiteY19" fmla="*/ 1428750 h 1877722"/>
              <a:gd name="connsiteX20" fmla="*/ 1581150 w 5695950"/>
              <a:gd name="connsiteY20" fmla="*/ 1466850 h 1877722"/>
              <a:gd name="connsiteX21" fmla="*/ 1590675 w 5695950"/>
              <a:gd name="connsiteY21" fmla="*/ 1514475 h 1877722"/>
              <a:gd name="connsiteX22" fmla="*/ 1609725 w 5695950"/>
              <a:gd name="connsiteY22" fmla="*/ 1552575 h 1877722"/>
              <a:gd name="connsiteX23" fmla="*/ 1628775 w 5695950"/>
              <a:gd name="connsiteY23" fmla="*/ 1609725 h 1877722"/>
              <a:gd name="connsiteX24" fmla="*/ 1666875 w 5695950"/>
              <a:gd name="connsiteY24" fmla="*/ 1666875 h 1877722"/>
              <a:gd name="connsiteX25" fmla="*/ 1685925 w 5695950"/>
              <a:gd name="connsiteY25" fmla="*/ 1695450 h 1877722"/>
              <a:gd name="connsiteX26" fmla="*/ 1714500 w 5695950"/>
              <a:gd name="connsiteY26" fmla="*/ 1724025 h 1877722"/>
              <a:gd name="connsiteX27" fmla="*/ 1762125 w 5695950"/>
              <a:gd name="connsiteY27" fmla="*/ 1781175 h 1877722"/>
              <a:gd name="connsiteX28" fmla="*/ 1866900 w 5695950"/>
              <a:gd name="connsiteY28" fmla="*/ 1800225 h 1877722"/>
              <a:gd name="connsiteX29" fmla="*/ 1895475 w 5695950"/>
              <a:gd name="connsiteY29" fmla="*/ 1819275 h 1877722"/>
              <a:gd name="connsiteX30" fmla="*/ 1924050 w 5695950"/>
              <a:gd name="connsiteY30" fmla="*/ 1828800 h 1877722"/>
              <a:gd name="connsiteX31" fmla="*/ 2028825 w 5695950"/>
              <a:gd name="connsiteY31" fmla="*/ 1847850 h 1877722"/>
              <a:gd name="connsiteX32" fmla="*/ 2181225 w 5695950"/>
              <a:gd name="connsiteY32" fmla="*/ 1876425 h 1877722"/>
              <a:gd name="connsiteX33" fmla="*/ 2667000 w 5695950"/>
              <a:gd name="connsiteY33" fmla="*/ 1866900 h 1877722"/>
              <a:gd name="connsiteX34" fmla="*/ 2771775 w 5695950"/>
              <a:gd name="connsiteY34" fmla="*/ 1857375 h 1877722"/>
              <a:gd name="connsiteX35" fmla="*/ 2857500 w 5695950"/>
              <a:gd name="connsiteY35" fmla="*/ 1847850 h 1877722"/>
              <a:gd name="connsiteX36" fmla="*/ 3152775 w 5695950"/>
              <a:gd name="connsiteY36" fmla="*/ 1838325 h 1877722"/>
              <a:gd name="connsiteX37" fmla="*/ 3209925 w 5695950"/>
              <a:gd name="connsiteY37" fmla="*/ 1800225 h 1877722"/>
              <a:gd name="connsiteX38" fmla="*/ 3238500 w 5695950"/>
              <a:gd name="connsiteY38" fmla="*/ 1781175 h 1877722"/>
              <a:gd name="connsiteX39" fmla="*/ 3286125 w 5695950"/>
              <a:gd name="connsiteY39" fmla="*/ 1752600 h 1877722"/>
              <a:gd name="connsiteX40" fmla="*/ 3314700 w 5695950"/>
              <a:gd name="connsiteY40" fmla="*/ 1733550 h 1877722"/>
              <a:gd name="connsiteX41" fmla="*/ 3352800 w 5695950"/>
              <a:gd name="connsiteY41" fmla="*/ 1724025 h 1877722"/>
              <a:gd name="connsiteX42" fmla="*/ 3381375 w 5695950"/>
              <a:gd name="connsiteY42" fmla="*/ 1714500 h 1877722"/>
              <a:gd name="connsiteX43" fmla="*/ 3476625 w 5695950"/>
              <a:gd name="connsiteY43" fmla="*/ 1647825 h 1877722"/>
              <a:gd name="connsiteX44" fmla="*/ 3533775 w 5695950"/>
              <a:gd name="connsiteY44" fmla="*/ 1628775 h 1877722"/>
              <a:gd name="connsiteX45" fmla="*/ 3571875 w 5695950"/>
              <a:gd name="connsiteY45" fmla="*/ 1600200 h 1877722"/>
              <a:gd name="connsiteX46" fmla="*/ 3609975 w 5695950"/>
              <a:gd name="connsiteY46" fmla="*/ 1543050 h 1877722"/>
              <a:gd name="connsiteX47" fmla="*/ 3686175 w 5695950"/>
              <a:gd name="connsiteY47" fmla="*/ 1495425 h 1877722"/>
              <a:gd name="connsiteX48" fmla="*/ 3743325 w 5695950"/>
              <a:gd name="connsiteY48" fmla="*/ 1457325 h 1877722"/>
              <a:gd name="connsiteX49" fmla="*/ 3800475 w 5695950"/>
              <a:gd name="connsiteY49" fmla="*/ 1400175 h 1877722"/>
              <a:gd name="connsiteX50" fmla="*/ 3829050 w 5695950"/>
              <a:gd name="connsiteY50" fmla="*/ 1381125 h 1877722"/>
              <a:gd name="connsiteX51" fmla="*/ 3886200 w 5695950"/>
              <a:gd name="connsiteY51" fmla="*/ 1343025 h 1877722"/>
              <a:gd name="connsiteX52" fmla="*/ 3952875 w 5695950"/>
              <a:gd name="connsiteY52" fmla="*/ 1285875 h 1877722"/>
              <a:gd name="connsiteX53" fmla="*/ 3981450 w 5695950"/>
              <a:gd name="connsiteY53" fmla="*/ 1276350 h 1877722"/>
              <a:gd name="connsiteX54" fmla="*/ 4067175 w 5695950"/>
              <a:gd name="connsiteY54" fmla="*/ 1200150 h 1877722"/>
              <a:gd name="connsiteX55" fmla="*/ 4105275 w 5695950"/>
              <a:gd name="connsiteY55" fmla="*/ 1162050 h 1877722"/>
              <a:gd name="connsiteX56" fmla="*/ 4162425 w 5695950"/>
              <a:gd name="connsiteY56" fmla="*/ 1123950 h 1877722"/>
              <a:gd name="connsiteX57" fmla="*/ 4191000 w 5695950"/>
              <a:gd name="connsiteY57" fmla="*/ 1104900 h 1877722"/>
              <a:gd name="connsiteX58" fmla="*/ 4219575 w 5695950"/>
              <a:gd name="connsiteY58" fmla="*/ 1076325 h 1877722"/>
              <a:gd name="connsiteX59" fmla="*/ 4267200 w 5695950"/>
              <a:gd name="connsiteY59" fmla="*/ 1066800 h 1877722"/>
              <a:gd name="connsiteX60" fmla="*/ 4352925 w 5695950"/>
              <a:gd name="connsiteY60" fmla="*/ 1019175 h 1877722"/>
              <a:gd name="connsiteX61" fmla="*/ 4419600 w 5695950"/>
              <a:gd name="connsiteY61" fmla="*/ 971550 h 1877722"/>
              <a:gd name="connsiteX62" fmla="*/ 4476750 w 5695950"/>
              <a:gd name="connsiteY62" fmla="*/ 914400 h 1877722"/>
              <a:gd name="connsiteX63" fmla="*/ 4533900 w 5695950"/>
              <a:gd name="connsiteY63" fmla="*/ 876300 h 1877722"/>
              <a:gd name="connsiteX64" fmla="*/ 4562475 w 5695950"/>
              <a:gd name="connsiteY64" fmla="*/ 866775 h 1877722"/>
              <a:gd name="connsiteX65" fmla="*/ 4619625 w 5695950"/>
              <a:gd name="connsiteY65" fmla="*/ 828675 h 1877722"/>
              <a:gd name="connsiteX66" fmla="*/ 4657725 w 5695950"/>
              <a:gd name="connsiteY66" fmla="*/ 809625 h 1877722"/>
              <a:gd name="connsiteX67" fmla="*/ 4686300 w 5695950"/>
              <a:gd name="connsiteY67" fmla="*/ 800100 h 1877722"/>
              <a:gd name="connsiteX68" fmla="*/ 4743450 w 5695950"/>
              <a:gd name="connsiteY68" fmla="*/ 762000 h 1877722"/>
              <a:gd name="connsiteX69" fmla="*/ 4772025 w 5695950"/>
              <a:gd name="connsiteY69" fmla="*/ 742950 h 1877722"/>
              <a:gd name="connsiteX70" fmla="*/ 4800600 w 5695950"/>
              <a:gd name="connsiteY70" fmla="*/ 723900 h 1877722"/>
              <a:gd name="connsiteX71" fmla="*/ 4829175 w 5695950"/>
              <a:gd name="connsiteY71" fmla="*/ 714375 h 1877722"/>
              <a:gd name="connsiteX72" fmla="*/ 4848225 w 5695950"/>
              <a:gd name="connsiteY72" fmla="*/ 685800 h 1877722"/>
              <a:gd name="connsiteX73" fmla="*/ 4905375 w 5695950"/>
              <a:gd name="connsiteY73" fmla="*/ 657225 h 1877722"/>
              <a:gd name="connsiteX74" fmla="*/ 4933950 w 5695950"/>
              <a:gd name="connsiteY74" fmla="*/ 638175 h 1877722"/>
              <a:gd name="connsiteX75" fmla="*/ 5000625 w 5695950"/>
              <a:gd name="connsiteY75" fmla="*/ 590550 h 1877722"/>
              <a:gd name="connsiteX76" fmla="*/ 5029200 w 5695950"/>
              <a:gd name="connsiteY76" fmla="*/ 581025 h 1877722"/>
              <a:gd name="connsiteX77" fmla="*/ 5057775 w 5695950"/>
              <a:gd name="connsiteY77" fmla="*/ 542925 h 1877722"/>
              <a:gd name="connsiteX78" fmla="*/ 5124450 w 5695950"/>
              <a:gd name="connsiteY78" fmla="*/ 495300 h 1877722"/>
              <a:gd name="connsiteX79" fmla="*/ 5181600 w 5695950"/>
              <a:gd name="connsiteY79" fmla="*/ 447675 h 1877722"/>
              <a:gd name="connsiteX80" fmla="*/ 5248275 w 5695950"/>
              <a:gd name="connsiteY80" fmla="*/ 390525 h 1877722"/>
              <a:gd name="connsiteX81" fmla="*/ 5314950 w 5695950"/>
              <a:gd name="connsiteY81" fmla="*/ 352425 h 1877722"/>
              <a:gd name="connsiteX82" fmla="*/ 5343525 w 5695950"/>
              <a:gd name="connsiteY82" fmla="*/ 314325 h 1877722"/>
              <a:gd name="connsiteX83" fmla="*/ 5381625 w 5695950"/>
              <a:gd name="connsiteY83" fmla="*/ 295275 h 1877722"/>
              <a:gd name="connsiteX84" fmla="*/ 5410200 w 5695950"/>
              <a:gd name="connsiteY84" fmla="*/ 276225 h 1877722"/>
              <a:gd name="connsiteX85" fmla="*/ 5429250 w 5695950"/>
              <a:gd name="connsiteY85" fmla="*/ 247650 h 1877722"/>
              <a:gd name="connsiteX86" fmla="*/ 5486400 w 5695950"/>
              <a:gd name="connsiteY86" fmla="*/ 200025 h 1877722"/>
              <a:gd name="connsiteX87" fmla="*/ 5553075 w 5695950"/>
              <a:gd name="connsiteY87" fmla="*/ 133350 h 1877722"/>
              <a:gd name="connsiteX88" fmla="*/ 5581650 w 5695950"/>
              <a:gd name="connsiteY88" fmla="*/ 104775 h 1877722"/>
              <a:gd name="connsiteX89" fmla="*/ 5600700 w 5695950"/>
              <a:gd name="connsiteY89" fmla="*/ 76200 h 1877722"/>
              <a:gd name="connsiteX90" fmla="*/ 5657850 w 5695950"/>
              <a:gd name="connsiteY90" fmla="*/ 38100 h 1877722"/>
              <a:gd name="connsiteX91" fmla="*/ 5667375 w 5695950"/>
              <a:gd name="connsiteY91" fmla="*/ 9525 h 1877722"/>
              <a:gd name="connsiteX92" fmla="*/ 5695950 w 5695950"/>
              <a:gd name="connsiteY92" fmla="*/ 0 h 1877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5695950" h="1877722">
                <a:moveTo>
                  <a:pt x="0" y="771525"/>
                </a:moveTo>
                <a:cubicBezTo>
                  <a:pt x="15875" y="784225"/>
                  <a:pt x="33250" y="795250"/>
                  <a:pt x="47625" y="809625"/>
                </a:cubicBezTo>
                <a:cubicBezTo>
                  <a:pt x="77516" y="839516"/>
                  <a:pt x="59805" y="838045"/>
                  <a:pt x="76200" y="876300"/>
                </a:cubicBezTo>
                <a:cubicBezTo>
                  <a:pt x="86146" y="899507"/>
                  <a:pt x="106661" y="916286"/>
                  <a:pt x="123825" y="933450"/>
                </a:cubicBezTo>
                <a:cubicBezTo>
                  <a:pt x="127000" y="942975"/>
                  <a:pt x="127781" y="953671"/>
                  <a:pt x="133350" y="962025"/>
                </a:cubicBezTo>
                <a:cubicBezTo>
                  <a:pt x="160367" y="1002550"/>
                  <a:pt x="162102" y="982562"/>
                  <a:pt x="200025" y="1009650"/>
                </a:cubicBezTo>
                <a:cubicBezTo>
                  <a:pt x="210986" y="1017480"/>
                  <a:pt x="217392" y="1030753"/>
                  <a:pt x="228600" y="1038225"/>
                </a:cubicBezTo>
                <a:cubicBezTo>
                  <a:pt x="241664" y="1046934"/>
                  <a:pt x="297106" y="1055351"/>
                  <a:pt x="304800" y="1057275"/>
                </a:cubicBezTo>
                <a:cubicBezTo>
                  <a:pt x="362764" y="1071766"/>
                  <a:pt x="310397" y="1073531"/>
                  <a:pt x="409575" y="1076325"/>
                </a:cubicBezTo>
                <a:cubicBezTo>
                  <a:pt x="609546" y="1081958"/>
                  <a:pt x="809625" y="1082675"/>
                  <a:pt x="1009650" y="1085850"/>
                </a:cubicBezTo>
                <a:cubicBezTo>
                  <a:pt x="1025525" y="1092200"/>
                  <a:pt x="1040688" y="1100753"/>
                  <a:pt x="1057275" y="1104900"/>
                </a:cubicBezTo>
                <a:cubicBezTo>
                  <a:pt x="1141527" y="1125963"/>
                  <a:pt x="1103131" y="1103158"/>
                  <a:pt x="1181100" y="1123950"/>
                </a:cubicBezTo>
                <a:cubicBezTo>
                  <a:pt x="1210204" y="1131711"/>
                  <a:pt x="1237289" y="1146618"/>
                  <a:pt x="1266825" y="1152525"/>
                </a:cubicBezTo>
                <a:cubicBezTo>
                  <a:pt x="1327287" y="1164617"/>
                  <a:pt x="1298744" y="1158123"/>
                  <a:pt x="1352550" y="1171575"/>
                </a:cubicBezTo>
                <a:cubicBezTo>
                  <a:pt x="1362075" y="1177925"/>
                  <a:pt x="1373030" y="1182530"/>
                  <a:pt x="1381125" y="1190625"/>
                </a:cubicBezTo>
                <a:cubicBezTo>
                  <a:pt x="1416267" y="1225767"/>
                  <a:pt x="1381937" y="1216567"/>
                  <a:pt x="1428750" y="1247775"/>
                </a:cubicBezTo>
                <a:cubicBezTo>
                  <a:pt x="1437104" y="1253344"/>
                  <a:pt x="1447800" y="1254125"/>
                  <a:pt x="1457325" y="1257300"/>
                </a:cubicBezTo>
                <a:cubicBezTo>
                  <a:pt x="1466850" y="1270000"/>
                  <a:pt x="1474675" y="1284175"/>
                  <a:pt x="1485900" y="1295400"/>
                </a:cubicBezTo>
                <a:cubicBezTo>
                  <a:pt x="1518920" y="1328420"/>
                  <a:pt x="1513205" y="1297305"/>
                  <a:pt x="1533525" y="1343025"/>
                </a:cubicBezTo>
                <a:cubicBezTo>
                  <a:pt x="1578865" y="1445040"/>
                  <a:pt x="1528512" y="1364081"/>
                  <a:pt x="1571625" y="1428750"/>
                </a:cubicBezTo>
                <a:cubicBezTo>
                  <a:pt x="1574800" y="1441450"/>
                  <a:pt x="1578310" y="1454071"/>
                  <a:pt x="1581150" y="1466850"/>
                </a:cubicBezTo>
                <a:cubicBezTo>
                  <a:pt x="1584662" y="1482654"/>
                  <a:pt x="1585555" y="1499116"/>
                  <a:pt x="1590675" y="1514475"/>
                </a:cubicBezTo>
                <a:cubicBezTo>
                  <a:pt x="1595165" y="1527945"/>
                  <a:pt x="1604452" y="1539392"/>
                  <a:pt x="1609725" y="1552575"/>
                </a:cubicBezTo>
                <a:cubicBezTo>
                  <a:pt x="1617183" y="1571219"/>
                  <a:pt x="1617636" y="1593017"/>
                  <a:pt x="1628775" y="1609725"/>
                </a:cubicBezTo>
                <a:lnTo>
                  <a:pt x="1666875" y="1666875"/>
                </a:lnTo>
                <a:cubicBezTo>
                  <a:pt x="1673225" y="1676400"/>
                  <a:pt x="1677830" y="1687355"/>
                  <a:pt x="1685925" y="1695450"/>
                </a:cubicBezTo>
                <a:cubicBezTo>
                  <a:pt x="1695450" y="1704975"/>
                  <a:pt x="1705876" y="1713677"/>
                  <a:pt x="1714500" y="1724025"/>
                </a:cubicBezTo>
                <a:cubicBezTo>
                  <a:pt x="1736464" y="1750381"/>
                  <a:pt x="1730819" y="1760304"/>
                  <a:pt x="1762125" y="1781175"/>
                </a:cubicBezTo>
                <a:cubicBezTo>
                  <a:pt x="1782455" y="1794729"/>
                  <a:pt x="1863669" y="1799821"/>
                  <a:pt x="1866900" y="1800225"/>
                </a:cubicBezTo>
                <a:cubicBezTo>
                  <a:pt x="1876425" y="1806575"/>
                  <a:pt x="1885236" y="1814155"/>
                  <a:pt x="1895475" y="1819275"/>
                </a:cubicBezTo>
                <a:cubicBezTo>
                  <a:pt x="1904455" y="1823765"/>
                  <a:pt x="1914396" y="1826042"/>
                  <a:pt x="1924050" y="1828800"/>
                </a:cubicBezTo>
                <a:cubicBezTo>
                  <a:pt x="1968960" y="1841631"/>
                  <a:pt x="1974864" y="1840141"/>
                  <a:pt x="2028825" y="1847850"/>
                </a:cubicBezTo>
                <a:cubicBezTo>
                  <a:pt x="2087529" y="1886986"/>
                  <a:pt x="2061591" y="1876425"/>
                  <a:pt x="2181225" y="1876425"/>
                </a:cubicBezTo>
                <a:cubicBezTo>
                  <a:pt x="2343181" y="1876425"/>
                  <a:pt x="2505075" y="1870075"/>
                  <a:pt x="2667000" y="1866900"/>
                </a:cubicBezTo>
                <a:lnTo>
                  <a:pt x="2771775" y="1857375"/>
                </a:lnTo>
                <a:cubicBezTo>
                  <a:pt x="2800383" y="1854514"/>
                  <a:pt x="2828785" y="1849286"/>
                  <a:pt x="2857500" y="1847850"/>
                </a:cubicBezTo>
                <a:cubicBezTo>
                  <a:pt x="2955853" y="1842932"/>
                  <a:pt x="3054350" y="1841500"/>
                  <a:pt x="3152775" y="1838325"/>
                </a:cubicBezTo>
                <a:lnTo>
                  <a:pt x="3209925" y="1800225"/>
                </a:lnTo>
                <a:cubicBezTo>
                  <a:pt x="3219450" y="1793875"/>
                  <a:pt x="3228792" y="1787242"/>
                  <a:pt x="3238500" y="1781175"/>
                </a:cubicBezTo>
                <a:cubicBezTo>
                  <a:pt x="3254199" y="1771363"/>
                  <a:pt x="3270721" y="1762869"/>
                  <a:pt x="3286125" y="1752600"/>
                </a:cubicBezTo>
                <a:cubicBezTo>
                  <a:pt x="3295650" y="1746250"/>
                  <a:pt x="3304178" y="1738059"/>
                  <a:pt x="3314700" y="1733550"/>
                </a:cubicBezTo>
                <a:cubicBezTo>
                  <a:pt x="3326732" y="1728393"/>
                  <a:pt x="3340213" y="1727621"/>
                  <a:pt x="3352800" y="1724025"/>
                </a:cubicBezTo>
                <a:cubicBezTo>
                  <a:pt x="3362454" y="1721267"/>
                  <a:pt x="3371850" y="1717675"/>
                  <a:pt x="3381375" y="1714500"/>
                </a:cubicBezTo>
                <a:cubicBezTo>
                  <a:pt x="3398763" y="1701459"/>
                  <a:pt x="3462553" y="1652516"/>
                  <a:pt x="3476625" y="1647825"/>
                </a:cubicBezTo>
                <a:lnTo>
                  <a:pt x="3533775" y="1628775"/>
                </a:lnTo>
                <a:cubicBezTo>
                  <a:pt x="3546475" y="1619250"/>
                  <a:pt x="3561328" y="1612065"/>
                  <a:pt x="3571875" y="1600200"/>
                </a:cubicBezTo>
                <a:cubicBezTo>
                  <a:pt x="3587086" y="1583088"/>
                  <a:pt x="3589497" y="1553289"/>
                  <a:pt x="3609975" y="1543050"/>
                </a:cubicBezTo>
                <a:cubicBezTo>
                  <a:pt x="3673333" y="1511371"/>
                  <a:pt x="3624351" y="1538702"/>
                  <a:pt x="3686175" y="1495425"/>
                </a:cubicBezTo>
                <a:cubicBezTo>
                  <a:pt x="3704932" y="1482295"/>
                  <a:pt x="3727136" y="1473514"/>
                  <a:pt x="3743325" y="1457325"/>
                </a:cubicBezTo>
                <a:cubicBezTo>
                  <a:pt x="3762375" y="1438275"/>
                  <a:pt x="3778059" y="1415119"/>
                  <a:pt x="3800475" y="1400175"/>
                </a:cubicBezTo>
                <a:cubicBezTo>
                  <a:pt x="3810000" y="1393825"/>
                  <a:pt x="3820256" y="1388454"/>
                  <a:pt x="3829050" y="1381125"/>
                </a:cubicBezTo>
                <a:cubicBezTo>
                  <a:pt x="3876616" y="1341487"/>
                  <a:pt x="3835982" y="1359764"/>
                  <a:pt x="3886200" y="1343025"/>
                </a:cubicBezTo>
                <a:cubicBezTo>
                  <a:pt x="3908720" y="1320505"/>
                  <a:pt x="3924364" y="1302167"/>
                  <a:pt x="3952875" y="1285875"/>
                </a:cubicBezTo>
                <a:cubicBezTo>
                  <a:pt x="3961592" y="1280894"/>
                  <a:pt x="3971925" y="1279525"/>
                  <a:pt x="3981450" y="1276350"/>
                </a:cubicBezTo>
                <a:cubicBezTo>
                  <a:pt x="4072547" y="1154887"/>
                  <a:pt x="3926457" y="1340868"/>
                  <a:pt x="4067175" y="1200150"/>
                </a:cubicBezTo>
                <a:cubicBezTo>
                  <a:pt x="4079875" y="1187450"/>
                  <a:pt x="4091250" y="1173270"/>
                  <a:pt x="4105275" y="1162050"/>
                </a:cubicBezTo>
                <a:cubicBezTo>
                  <a:pt x="4123153" y="1147747"/>
                  <a:pt x="4143375" y="1136650"/>
                  <a:pt x="4162425" y="1123950"/>
                </a:cubicBezTo>
                <a:cubicBezTo>
                  <a:pt x="4171950" y="1117600"/>
                  <a:pt x="4182905" y="1112995"/>
                  <a:pt x="4191000" y="1104900"/>
                </a:cubicBezTo>
                <a:cubicBezTo>
                  <a:pt x="4200525" y="1095375"/>
                  <a:pt x="4207527" y="1082349"/>
                  <a:pt x="4219575" y="1076325"/>
                </a:cubicBezTo>
                <a:cubicBezTo>
                  <a:pt x="4234055" y="1069085"/>
                  <a:pt x="4251325" y="1069975"/>
                  <a:pt x="4267200" y="1066800"/>
                </a:cubicBezTo>
                <a:cubicBezTo>
                  <a:pt x="4332704" y="1023131"/>
                  <a:pt x="4302630" y="1035940"/>
                  <a:pt x="4352925" y="1019175"/>
                </a:cubicBezTo>
                <a:cubicBezTo>
                  <a:pt x="4462902" y="909198"/>
                  <a:pt x="4294229" y="1071847"/>
                  <a:pt x="4419600" y="971550"/>
                </a:cubicBezTo>
                <a:cubicBezTo>
                  <a:pt x="4440637" y="954720"/>
                  <a:pt x="4454334" y="929344"/>
                  <a:pt x="4476750" y="914400"/>
                </a:cubicBezTo>
                <a:cubicBezTo>
                  <a:pt x="4495800" y="901700"/>
                  <a:pt x="4512180" y="883540"/>
                  <a:pt x="4533900" y="876300"/>
                </a:cubicBezTo>
                <a:cubicBezTo>
                  <a:pt x="4543425" y="873125"/>
                  <a:pt x="4553698" y="871651"/>
                  <a:pt x="4562475" y="866775"/>
                </a:cubicBezTo>
                <a:cubicBezTo>
                  <a:pt x="4582489" y="855656"/>
                  <a:pt x="4599147" y="838914"/>
                  <a:pt x="4619625" y="828675"/>
                </a:cubicBezTo>
                <a:cubicBezTo>
                  <a:pt x="4632325" y="822325"/>
                  <a:pt x="4644674" y="815218"/>
                  <a:pt x="4657725" y="809625"/>
                </a:cubicBezTo>
                <a:cubicBezTo>
                  <a:pt x="4666953" y="805670"/>
                  <a:pt x="4677523" y="804976"/>
                  <a:pt x="4686300" y="800100"/>
                </a:cubicBezTo>
                <a:cubicBezTo>
                  <a:pt x="4706314" y="788981"/>
                  <a:pt x="4724400" y="774700"/>
                  <a:pt x="4743450" y="762000"/>
                </a:cubicBezTo>
                <a:lnTo>
                  <a:pt x="4772025" y="742950"/>
                </a:lnTo>
                <a:cubicBezTo>
                  <a:pt x="4781550" y="736600"/>
                  <a:pt x="4789740" y="727520"/>
                  <a:pt x="4800600" y="723900"/>
                </a:cubicBezTo>
                <a:lnTo>
                  <a:pt x="4829175" y="714375"/>
                </a:lnTo>
                <a:cubicBezTo>
                  <a:pt x="4835525" y="704850"/>
                  <a:pt x="4840130" y="693895"/>
                  <a:pt x="4848225" y="685800"/>
                </a:cubicBezTo>
                <a:cubicBezTo>
                  <a:pt x="4875522" y="658503"/>
                  <a:pt x="4874387" y="672719"/>
                  <a:pt x="4905375" y="657225"/>
                </a:cubicBezTo>
                <a:cubicBezTo>
                  <a:pt x="4915614" y="652105"/>
                  <a:pt x="4924635" y="644829"/>
                  <a:pt x="4933950" y="638175"/>
                </a:cubicBezTo>
                <a:cubicBezTo>
                  <a:pt x="4944017" y="630984"/>
                  <a:pt x="4985660" y="598033"/>
                  <a:pt x="5000625" y="590550"/>
                </a:cubicBezTo>
                <a:cubicBezTo>
                  <a:pt x="5009605" y="586060"/>
                  <a:pt x="5019675" y="584200"/>
                  <a:pt x="5029200" y="581025"/>
                </a:cubicBezTo>
                <a:cubicBezTo>
                  <a:pt x="5038725" y="568325"/>
                  <a:pt x="5046550" y="554150"/>
                  <a:pt x="5057775" y="542925"/>
                </a:cubicBezTo>
                <a:cubicBezTo>
                  <a:pt x="5069590" y="531110"/>
                  <a:pt x="5108225" y="506117"/>
                  <a:pt x="5124450" y="495300"/>
                </a:cubicBezTo>
                <a:cubicBezTo>
                  <a:pt x="5156944" y="446560"/>
                  <a:pt x="5126355" y="482203"/>
                  <a:pt x="5181600" y="447675"/>
                </a:cubicBezTo>
                <a:cubicBezTo>
                  <a:pt x="5238675" y="412003"/>
                  <a:pt x="5201518" y="429489"/>
                  <a:pt x="5248275" y="390525"/>
                </a:cubicBezTo>
                <a:cubicBezTo>
                  <a:pt x="5268470" y="373696"/>
                  <a:pt x="5291659" y="364070"/>
                  <a:pt x="5314950" y="352425"/>
                </a:cubicBezTo>
                <a:cubicBezTo>
                  <a:pt x="5324475" y="339725"/>
                  <a:pt x="5331472" y="324656"/>
                  <a:pt x="5343525" y="314325"/>
                </a:cubicBezTo>
                <a:cubicBezTo>
                  <a:pt x="5354306" y="305084"/>
                  <a:pt x="5369297" y="302320"/>
                  <a:pt x="5381625" y="295275"/>
                </a:cubicBezTo>
                <a:cubicBezTo>
                  <a:pt x="5391564" y="289595"/>
                  <a:pt x="5400675" y="282575"/>
                  <a:pt x="5410200" y="276225"/>
                </a:cubicBezTo>
                <a:cubicBezTo>
                  <a:pt x="5416550" y="266700"/>
                  <a:pt x="5421155" y="255745"/>
                  <a:pt x="5429250" y="247650"/>
                </a:cubicBezTo>
                <a:cubicBezTo>
                  <a:pt x="5484283" y="192617"/>
                  <a:pt x="5431785" y="270244"/>
                  <a:pt x="5486400" y="200025"/>
                </a:cubicBezTo>
                <a:cubicBezTo>
                  <a:pt x="5539895" y="131246"/>
                  <a:pt x="5498471" y="151551"/>
                  <a:pt x="5553075" y="133350"/>
                </a:cubicBezTo>
                <a:cubicBezTo>
                  <a:pt x="5562600" y="123825"/>
                  <a:pt x="5573026" y="115123"/>
                  <a:pt x="5581650" y="104775"/>
                </a:cubicBezTo>
                <a:cubicBezTo>
                  <a:pt x="5588979" y="95981"/>
                  <a:pt x="5592085" y="83738"/>
                  <a:pt x="5600700" y="76200"/>
                </a:cubicBezTo>
                <a:cubicBezTo>
                  <a:pt x="5617930" y="61123"/>
                  <a:pt x="5657850" y="38100"/>
                  <a:pt x="5657850" y="38100"/>
                </a:cubicBezTo>
                <a:cubicBezTo>
                  <a:pt x="5661025" y="28575"/>
                  <a:pt x="5660275" y="16625"/>
                  <a:pt x="5667375" y="9525"/>
                </a:cubicBezTo>
                <a:cubicBezTo>
                  <a:pt x="5674475" y="2425"/>
                  <a:pt x="5695950" y="0"/>
                  <a:pt x="5695950" y="0"/>
                </a:cubicBezTo>
              </a:path>
            </a:pathLst>
          </a:custGeom>
          <a:noFill/>
          <a:ln w="12700">
            <a:solidFill>
              <a:srgbClr val="9B351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57" name="任意多边形: 形状 2056">
            <a:extLst>
              <a:ext uri="{FF2B5EF4-FFF2-40B4-BE49-F238E27FC236}">
                <a16:creationId xmlns:a16="http://schemas.microsoft.com/office/drawing/2014/main" id="{C7766D72-9137-4FC0-A029-891748D32753}"/>
              </a:ext>
            </a:extLst>
          </p:cNvPr>
          <p:cNvSpPr/>
          <p:nvPr/>
        </p:nvSpPr>
        <p:spPr>
          <a:xfrm>
            <a:off x="1514475" y="5353050"/>
            <a:ext cx="7191375" cy="523875"/>
          </a:xfrm>
          <a:custGeom>
            <a:avLst/>
            <a:gdLst>
              <a:gd name="connsiteX0" fmla="*/ 0 w 7191375"/>
              <a:gd name="connsiteY0" fmla="*/ 0 h 523875"/>
              <a:gd name="connsiteX1" fmla="*/ 57150 w 7191375"/>
              <a:gd name="connsiteY1" fmla="*/ 47625 h 523875"/>
              <a:gd name="connsiteX2" fmla="*/ 104775 w 7191375"/>
              <a:gd name="connsiteY2" fmla="*/ 104775 h 523875"/>
              <a:gd name="connsiteX3" fmla="*/ 142875 w 7191375"/>
              <a:gd name="connsiteY3" fmla="*/ 133350 h 523875"/>
              <a:gd name="connsiteX4" fmla="*/ 171450 w 7191375"/>
              <a:gd name="connsiteY4" fmla="*/ 161925 h 523875"/>
              <a:gd name="connsiteX5" fmla="*/ 200025 w 7191375"/>
              <a:gd name="connsiteY5" fmla="*/ 180975 h 523875"/>
              <a:gd name="connsiteX6" fmla="*/ 257175 w 7191375"/>
              <a:gd name="connsiteY6" fmla="*/ 228600 h 523875"/>
              <a:gd name="connsiteX7" fmla="*/ 295275 w 7191375"/>
              <a:gd name="connsiteY7" fmla="*/ 257175 h 523875"/>
              <a:gd name="connsiteX8" fmla="*/ 323850 w 7191375"/>
              <a:gd name="connsiteY8" fmla="*/ 285750 h 523875"/>
              <a:gd name="connsiteX9" fmla="*/ 371475 w 7191375"/>
              <a:gd name="connsiteY9" fmla="*/ 295275 h 523875"/>
              <a:gd name="connsiteX10" fmla="*/ 428625 w 7191375"/>
              <a:gd name="connsiteY10" fmla="*/ 314325 h 523875"/>
              <a:gd name="connsiteX11" fmla="*/ 571500 w 7191375"/>
              <a:gd name="connsiteY11" fmla="*/ 333375 h 523875"/>
              <a:gd name="connsiteX12" fmla="*/ 638175 w 7191375"/>
              <a:gd name="connsiteY12" fmla="*/ 352425 h 523875"/>
              <a:gd name="connsiteX13" fmla="*/ 1085850 w 7191375"/>
              <a:gd name="connsiteY13" fmla="*/ 342900 h 523875"/>
              <a:gd name="connsiteX14" fmla="*/ 1143000 w 7191375"/>
              <a:gd name="connsiteY14" fmla="*/ 314325 h 523875"/>
              <a:gd name="connsiteX15" fmla="*/ 1209675 w 7191375"/>
              <a:gd name="connsiteY15" fmla="*/ 247650 h 523875"/>
              <a:gd name="connsiteX16" fmla="*/ 1266825 w 7191375"/>
              <a:gd name="connsiteY16" fmla="*/ 209550 h 523875"/>
              <a:gd name="connsiteX17" fmla="*/ 1314450 w 7191375"/>
              <a:gd name="connsiteY17" fmla="*/ 171450 h 523875"/>
              <a:gd name="connsiteX18" fmla="*/ 1371600 w 7191375"/>
              <a:gd name="connsiteY18" fmla="*/ 133350 h 523875"/>
              <a:gd name="connsiteX19" fmla="*/ 1390650 w 7191375"/>
              <a:gd name="connsiteY19" fmla="*/ 104775 h 523875"/>
              <a:gd name="connsiteX20" fmla="*/ 1457325 w 7191375"/>
              <a:gd name="connsiteY20" fmla="*/ 76200 h 523875"/>
              <a:gd name="connsiteX21" fmla="*/ 1485900 w 7191375"/>
              <a:gd name="connsiteY21" fmla="*/ 66675 h 523875"/>
              <a:gd name="connsiteX22" fmla="*/ 1524000 w 7191375"/>
              <a:gd name="connsiteY22" fmla="*/ 76200 h 523875"/>
              <a:gd name="connsiteX23" fmla="*/ 1562100 w 7191375"/>
              <a:gd name="connsiteY23" fmla="*/ 133350 h 523875"/>
              <a:gd name="connsiteX24" fmla="*/ 1581150 w 7191375"/>
              <a:gd name="connsiteY24" fmla="*/ 161925 h 523875"/>
              <a:gd name="connsiteX25" fmla="*/ 1609725 w 7191375"/>
              <a:gd name="connsiteY25" fmla="*/ 180975 h 523875"/>
              <a:gd name="connsiteX26" fmla="*/ 1657350 w 7191375"/>
              <a:gd name="connsiteY26" fmla="*/ 266700 h 523875"/>
              <a:gd name="connsiteX27" fmla="*/ 1685925 w 7191375"/>
              <a:gd name="connsiteY27" fmla="*/ 285750 h 523875"/>
              <a:gd name="connsiteX28" fmla="*/ 1724025 w 7191375"/>
              <a:gd name="connsiteY28" fmla="*/ 342900 h 523875"/>
              <a:gd name="connsiteX29" fmla="*/ 1743075 w 7191375"/>
              <a:gd name="connsiteY29" fmla="*/ 371475 h 523875"/>
              <a:gd name="connsiteX30" fmla="*/ 1771650 w 7191375"/>
              <a:gd name="connsiteY30" fmla="*/ 381000 h 523875"/>
              <a:gd name="connsiteX31" fmla="*/ 1800225 w 7191375"/>
              <a:gd name="connsiteY31" fmla="*/ 400050 h 523875"/>
              <a:gd name="connsiteX32" fmla="*/ 1819275 w 7191375"/>
              <a:gd name="connsiteY32" fmla="*/ 438150 h 523875"/>
              <a:gd name="connsiteX33" fmla="*/ 1895475 w 7191375"/>
              <a:gd name="connsiteY33" fmla="*/ 466725 h 523875"/>
              <a:gd name="connsiteX34" fmla="*/ 1952625 w 7191375"/>
              <a:gd name="connsiteY34" fmla="*/ 476250 h 523875"/>
              <a:gd name="connsiteX35" fmla="*/ 2019300 w 7191375"/>
              <a:gd name="connsiteY35" fmla="*/ 504825 h 523875"/>
              <a:gd name="connsiteX36" fmla="*/ 2143125 w 7191375"/>
              <a:gd name="connsiteY36" fmla="*/ 523875 h 523875"/>
              <a:gd name="connsiteX37" fmla="*/ 2695575 w 7191375"/>
              <a:gd name="connsiteY37" fmla="*/ 504825 h 523875"/>
              <a:gd name="connsiteX38" fmla="*/ 2752725 w 7191375"/>
              <a:gd name="connsiteY38" fmla="*/ 485775 h 523875"/>
              <a:gd name="connsiteX39" fmla="*/ 2790825 w 7191375"/>
              <a:gd name="connsiteY39" fmla="*/ 476250 h 523875"/>
              <a:gd name="connsiteX40" fmla="*/ 2847975 w 7191375"/>
              <a:gd name="connsiteY40" fmla="*/ 457200 h 523875"/>
              <a:gd name="connsiteX41" fmla="*/ 2876550 w 7191375"/>
              <a:gd name="connsiteY41" fmla="*/ 438150 h 523875"/>
              <a:gd name="connsiteX42" fmla="*/ 3038475 w 7191375"/>
              <a:gd name="connsiteY42" fmla="*/ 419100 h 523875"/>
              <a:gd name="connsiteX43" fmla="*/ 3133725 w 7191375"/>
              <a:gd name="connsiteY43" fmla="*/ 381000 h 523875"/>
              <a:gd name="connsiteX44" fmla="*/ 3209925 w 7191375"/>
              <a:gd name="connsiteY44" fmla="*/ 371475 h 523875"/>
              <a:gd name="connsiteX45" fmla="*/ 3295650 w 7191375"/>
              <a:gd name="connsiteY45" fmla="*/ 342900 h 523875"/>
              <a:gd name="connsiteX46" fmla="*/ 3409950 w 7191375"/>
              <a:gd name="connsiteY46" fmla="*/ 323850 h 523875"/>
              <a:gd name="connsiteX47" fmla="*/ 3562350 w 7191375"/>
              <a:gd name="connsiteY47" fmla="*/ 333375 h 523875"/>
              <a:gd name="connsiteX48" fmla="*/ 3590925 w 7191375"/>
              <a:gd name="connsiteY48" fmla="*/ 361950 h 523875"/>
              <a:gd name="connsiteX49" fmla="*/ 3619500 w 7191375"/>
              <a:gd name="connsiteY49" fmla="*/ 371475 h 523875"/>
              <a:gd name="connsiteX50" fmla="*/ 3695700 w 7191375"/>
              <a:gd name="connsiteY50" fmla="*/ 419100 h 523875"/>
              <a:gd name="connsiteX51" fmla="*/ 3762375 w 7191375"/>
              <a:gd name="connsiteY51" fmla="*/ 447675 h 523875"/>
              <a:gd name="connsiteX52" fmla="*/ 3819525 w 7191375"/>
              <a:gd name="connsiteY52" fmla="*/ 476250 h 523875"/>
              <a:gd name="connsiteX53" fmla="*/ 4476750 w 7191375"/>
              <a:gd name="connsiteY53" fmla="*/ 457200 h 523875"/>
              <a:gd name="connsiteX54" fmla="*/ 4533900 w 7191375"/>
              <a:gd name="connsiteY54" fmla="*/ 419100 h 523875"/>
              <a:gd name="connsiteX55" fmla="*/ 4648200 w 7191375"/>
              <a:gd name="connsiteY55" fmla="*/ 400050 h 523875"/>
              <a:gd name="connsiteX56" fmla="*/ 4724400 w 7191375"/>
              <a:gd name="connsiteY56" fmla="*/ 371475 h 523875"/>
              <a:gd name="connsiteX57" fmla="*/ 4752975 w 7191375"/>
              <a:gd name="connsiteY57" fmla="*/ 352425 h 523875"/>
              <a:gd name="connsiteX58" fmla="*/ 4905375 w 7191375"/>
              <a:gd name="connsiteY58" fmla="*/ 342900 h 523875"/>
              <a:gd name="connsiteX59" fmla="*/ 4981575 w 7191375"/>
              <a:gd name="connsiteY59" fmla="*/ 323850 h 523875"/>
              <a:gd name="connsiteX60" fmla="*/ 5095875 w 7191375"/>
              <a:gd name="connsiteY60" fmla="*/ 304800 h 523875"/>
              <a:gd name="connsiteX61" fmla="*/ 5457825 w 7191375"/>
              <a:gd name="connsiteY61" fmla="*/ 314325 h 523875"/>
              <a:gd name="connsiteX62" fmla="*/ 5514975 w 7191375"/>
              <a:gd name="connsiteY62" fmla="*/ 352425 h 523875"/>
              <a:gd name="connsiteX63" fmla="*/ 5534025 w 7191375"/>
              <a:gd name="connsiteY63" fmla="*/ 381000 h 523875"/>
              <a:gd name="connsiteX64" fmla="*/ 5591175 w 7191375"/>
              <a:gd name="connsiteY64" fmla="*/ 400050 h 523875"/>
              <a:gd name="connsiteX65" fmla="*/ 5657850 w 7191375"/>
              <a:gd name="connsiteY65" fmla="*/ 419100 h 523875"/>
              <a:gd name="connsiteX66" fmla="*/ 6096000 w 7191375"/>
              <a:gd name="connsiteY66" fmla="*/ 409575 h 523875"/>
              <a:gd name="connsiteX67" fmla="*/ 6172200 w 7191375"/>
              <a:gd name="connsiteY67" fmla="*/ 371475 h 523875"/>
              <a:gd name="connsiteX68" fmla="*/ 6286500 w 7191375"/>
              <a:gd name="connsiteY68" fmla="*/ 342900 h 523875"/>
              <a:gd name="connsiteX69" fmla="*/ 6829425 w 7191375"/>
              <a:gd name="connsiteY69" fmla="*/ 323850 h 523875"/>
              <a:gd name="connsiteX70" fmla="*/ 6896100 w 7191375"/>
              <a:gd name="connsiteY70" fmla="*/ 304800 h 523875"/>
              <a:gd name="connsiteX71" fmla="*/ 6924675 w 7191375"/>
              <a:gd name="connsiteY71" fmla="*/ 295275 h 523875"/>
              <a:gd name="connsiteX72" fmla="*/ 7191375 w 7191375"/>
              <a:gd name="connsiteY72" fmla="*/ 285750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7191375" h="523875">
                <a:moveTo>
                  <a:pt x="0" y="0"/>
                </a:moveTo>
                <a:cubicBezTo>
                  <a:pt x="19050" y="15875"/>
                  <a:pt x="39615" y="30090"/>
                  <a:pt x="57150" y="47625"/>
                </a:cubicBezTo>
                <a:cubicBezTo>
                  <a:pt x="145336" y="135811"/>
                  <a:pt x="-4454" y="11150"/>
                  <a:pt x="104775" y="104775"/>
                </a:cubicBezTo>
                <a:cubicBezTo>
                  <a:pt x="116828" y="115106"/>
                  <a:pt x="130822" y="123019"/>
                  <a:pt x="142875" y="133350"/>
                </a:cubicBezTo>
                <a:cubicBezTo>
                  <a:pt x="153102" y="142116"/>
                  <a:pt x="161102" y="153301"/>
                  <a:pt x="171450" y="161925"/>
                </a:cubicBezTo>
                <a:cubicBezTo>
                  <a:pt x="180244" y="169254"/>
                  <a:pt x="191231" y="173646"/>
                  <a:pt x="200025" y="180975"/>
                </a:cubicBezTo>
                <a:cubicBezTo>
                  <a:pt x="306757" y="269919"/>
                  <a:pt x="157850" y="157654"/>
                  <a:pt x="257175" y="228600"/>
                </a:cubicBezTo>
                <a:cubicBezTo>
                  <a:pt x="270093" y="237827"/>
                  <a:pt x="283222" y="246844"/>
                  <a:pt x="295275" y="257175"/>
                </a:cubicBezTo>
                <a:cubicBezTo>
                  <a:pt x="305502" y="265941"/>
                  <a:pt x="311802" y="279726"/>
                  <a:pt x="323850" y="285750"/>
                </a:cubicBezTo>
                <a:cubicBezTo>
                  <a:pt x="338330" y="292990"/>
                  <a:pt x="355856" y="291015"/>
                  <a:pt x="371475" y="295275"/>
                </a:cubicBezTo>
                <a:cubicBezTo>
                  <a:pt x="390848" y="300559"/>
                  <a:pt x="408934" y="310387"/>
                  <a:pt x="428625" y="314325"/>
                </a:cubicBezTo>
                <a:cubicBezTo>
                  <a:pt x="507539" y="330108"/>
                  <a:pt x="460141" y="322239"/>
                  <a:pt x="571500" y="333375"/>
                </a:cubicBezTo>
                <a:cubicBezTo>
                  <a:pt x="593725" y="339725"/>
                  <a:pt x="615574" y="347582"/>
                  <a:pt x="638175" y="352425"/>
                </a:cubicBezTo>
                <a:cubicBezTo>
                  <a:pt x="778689" y="382535"/>
                  <a:pt x="977190" y="348333"/>
                  <a:pt x="1085850" y="342900"/>
                </a:cubicBezTo>
                <a:cubicBezTo>
                  <a:pt x="1109091" y="335153"/>
                  <a:pt x="1124536" y="332789"/>
                  <a:pt x="1143000" y="314325"/>
                </a:cubicBezTo>
                <a:cubicBezTo>
                  <a:pt x="1214967" y="242358"/>
                  <a:pt x="1125008" y="306917"/>
                  <a:pt x="1209675" y="247650"/>
                </a:cubicBezTo>
                <a:cubicBezTo>
                  <a:pt x="1228432" y="234520"/>
                  <a:pt x="1266825" y="209550"/>
                  <a:pt x="1266825" y="209550"/>
                </a:cubicBezTo>
                <a:cubicBezTo>
                  <a:pt x="1302024" y="156752"/>
                  <a:pt x="1265736" y="198513"/>
                  <a:pt x="1314450" y="171450"/>
                </a:cubicBezTo>
                <a:cubicBezTo>
                  <a:pt x="1334464" y="160331"/>
                  <a:pt x="1371600" y="133350"/>
                  <a:pt x="1371600" y="133350"/>
                </a:cubicBezTo>
                <a:cubicBezTo>
                  <a:pt x="1377950" y="123825"/>
                  <a:pt x="1382555" y="112870"/>
                  <a:pt x="1390650" y="104775"/>
                </a:cubicBezTo>
                <a:cubicBezTo>
                  <a:pt x="1413851" y="81574"/>
                  <a:pt x="1426721" y="84944"/>
                  <a:pt x="1457325" y="76200"/>
                </a:cubicBezTo>
                <a:cubicBezTo>
                  <a:pt x="1466979" y="73442"/>
                  <a:pt x="1476375" y="69850"/>
                  <a:pt x="1485900" y="66675"/>
                </a:cubicBezTo>
                <a:cubicBezTo>
                  <a:pt x="1498600" y="69850"/>
                  <a:pt x="1514148" y="67580"/>
                  <a:pt x="1524000" y="76200"/>
                </a:cubicBezTo>
                <a:cubicBezTo>
                  <a:pt x="1541230" y="91277"/>
                  <a:pt x="1549400" y="114300"/>
                  <a:pt x="1562100" y="133350"/>
                </a:cubicBezTo>
                <a:cubicBezTo>
                  <a:pt x="1568450" y="142875"/>
                  <a:pt x="1571625" y="155575"/>
                  <a:pt x="1581150" y="161925"/>
                </a:cubicBezTo>
                <a:lnTo>
                  <a:pt x="1609725" y="180975"/>
                </a:lnTo>
                <a:cubicBezTo>
                  <a:pt x="1619651" y="210752"/>
                  <a:pt x="1629277" y="247985"/>
                  <a:pt x="1657350" y="266700"/>
                </a:cubicBezTo>
                <a:lnTo>
                  <a:pt x="1685925" y="285750"/>
                </a:lnTo>
                <a:cubicBezTo>
                  <a:pt x="1702664" y="335968"/>
                  <a:pt x="1684387" y="295334"/>
                  <a:pt x="1724025" y="342900"/>
                </a:cubicBezTo>
                <a:cubicBezTo>
                  <a:pt x="1731354" y="351694"/>
                  <a:pt x="1734136" y="364324"/>
                  <a:pt x="1743075" y="371475"/>
                </a:cubicBezTo>
                <a:cubicBezTo>
                  <a:pt x="1750915" y="377747"/>
                  <a:pt x="1762670" y="376510"/>
                  <a:pt x="1771650" y="381000"/>
                </a:cubicBezTo>
                <a:cubicBezTo>
                  <a:pt x="1781889" y="386120"/>
                  <a:pt x="1790700" y="393700"/>
                  <a:pt x="1800225" y="400050"/>
                </a:cubicBezTo>
                <a:cubicBezTo>
                  <a:pt x="1806575" y="412750"/>
                  <a:pt x="1810185" y="427242"/>
                  <a:pt x="1819275" y="438150"/>
                </a:cubicBezTo>
                <a:cubicBezTo>
                  <a:pt x="1838554" y="461284"/>
                  <a:pt x="1868822" y="461879"/>
                  <a:pt x="1895475" y="466725"/>
                </a:cubicBezTo>
                <a:cubicBezTo>
                  <a:pt x="1914476" y="470180"/>
                  <a:pt x="1933772" y="472060"/>
                  <a:pt x="1952625" y="476250"/>
                </a:cubicBezTo>
                <a:cubicBezTo>
                  <a:pt x="1991330" y="484851"/>
                  <a:pt x="1976944" y="488942"/>
                  <a:pt x="2019300" y="504825"/>
                </a:cubicBezTo>
                <a:cubicBezTo>
                  <a:pt x="2054033" y="517850"/>
                  <a:pt x="2113043" y="520533"/>
                  <a:pt x="2143125" y="523875"/>
                </a:cubicBezTo>
                <a:cubicBezTo>
                  <a:pt x="2327275" y="517525"/>
                  <a:pt x="2511674" y="516319"/>
                  <a:pt x="2695575" y="504825"/>
                </a:cubicBezTo>
                <a:cubicBezTo>
                  <a:pt x="2715616" y="503572"/>
                  <a:pt x="2733244" y="490645"/>
                  <a:pt x="2752725" y="485775"/>
                </a:cubicBezTo>
                <a:cubicBezTo>
                  <a:pt x="2765425" y="482600"/>
                  <a:pt x="2778286" y="480012"/>
                  <a:pt x="2790825" y="476250"/>
                </a:cubicBezTo>
                <a:cubicBezTo>
                  <a:pt x="2810059" y="470480"/>
                  <a:pt x="2831267" y="468339"/>
                  <a:pt x="2847975" y="457200"/>
                </a:cubicBezTo>
                <a:cubicBezTo>
                  <a:pt x="2857500" y="450850"/>
                  <a:pt x="2865690" y="441770"/>
                  <a:pt x="2876550" y="438150"/>
                </a:cubicBezTo>
                <a:cubicBezTo>
                  <a:pt x="2905219" y="428594"/>
                  <a:pt x="3028997" y="419962"/>
                  <a:pt x="3038475" y="419100"/>
                </a:cubicBezTo>
                <a:cubicBezTo>
                  <a:pt x="3066793" y="404941"/>
                  <a:pt x="3102338" y="384923"/>
                  <a:pt x="3133725" y="381000"/>
                </a:cubicBezTo>
                <a:cubicBezTo>
                  <a:pt x="3159125" y="377825"/>
                  <a:pt x="3184676" y="375683"/>
                  <a:pt x="3209925" y="371475"/>
                </a:cubicBezTo>
                <a:cubicBezTo>
                  <a:pt x="3264760" y="362336"/>
                  <a:pt x="3235678" y="360892"/>
                  <a:pt x="3295650" y="342900"/>
                </a:cubicBezTo>
                <a:cubicBezTo>
                  <a:pt x="3320974" y="335303"/>
                  <a:pt x="3388704" y="326885"/>
                  <a:pt x="3409950" y="323850"/>
                </a:cubicBezTo>
                <a:cubicBezTo>
                  <a:pt x="3460750" y="327025"/>
                  <a:pt x="3512543" y="322889"/>
                  <a:pt x="3562350" y="333375"/>
                </a:cubicBezTo>
                <a:cubicBezTo>
                  <a:pt x="3575531" y="336150"/>
                  <a:pt x="3579717" y="354478"/>
                  <a:pt x="3590925" y="361950"/>
                </a:cubicBezTo>
                <a:cubicBezTo>
                  <a:pt x="3599279" y="367519"/>
                  <a:pt x="3610686" y="366667"/>
                  <a:pt x="3619500" y="371475"/>
                </a:cubicBezTo>
                <a:cubicBezTo>
                  <a:pt x="3645796" y="385818"/>
                  <a:pt x="3667284" y="409628"/>
                  <a:pt x="3695700" y="419100"/>
                </a:cubicBezTo>
                <a:cubicBezTo>
                  <a:pt x="3727758" y="429786"/>
                  <a:pt x="3729419" y="428843"/>
                  <a:pt x="3762375" y="447675"/>
                </a:cubicBezTo>
                <a:cubicBezTo>
                  <a:pt x="3814076" y="477218"/>
                  <a:pt x="3767134" y="458786"/>
                  <a:pt x="3819525" y="476250"/>
                </a:cubicBezTo>
                <a:cubicBezTo>
                  <a:pt x="4038600" y="469900"/>
                  <a:pt x="4258281" y="474678"/>
                  <a:pt x="4476750" y="457200"/>
                </a:cubicBezTo>
                <a:cubicBezTo>
                  <a:pt x="4499572" y="455374"/>
                  <a:pt x="4512180" y="426340"/>
                  <a:pt x="4533900" y="419100"/>
                </a:cubicBezTo>
                <a:cubicBezTo>
                  <a:pt x="4589750" y="400483"/>
                  <a:pt x="4552496" y="410684"/>
                  <a:pt x="4648200" y="400050"/>
                </a:cubicBezTo>
                <a:cubicBezTo>
                  <a:pt x="4715213" y="355374"/>
                  <a:pt x="4630239" y="406785"/>
                  <a:pt x="4724400" y="371475"/>
                </a:cubicBezTo>
                <a:cubicBezTo>
                  <a:pt x="4735119" y="367455"/>
                  <a:pt x="4741667" y="354210"/>
                  <a:pt x="4752975" y="352425"/>
                </a:cubicBezTo>
                <a:cubicBezTo>
                  <a:pt x="4803251" y="344487"/>
                  <a:pt x="4854575" y="346075"/>
                  <a:pt x="4905375" y="342900"/>
                </a:cubicBezTo>
                <a:cubicBezTo>
                  <a:pt x="4943962" y="330038"/>
                  <a:pt x="4932725" y="332471"/>
                  <a:pt x="4981575" y="323850"/>
                </a:cubicBezTo>
                <a:lnTo>
                  <a:pt x="5095875" y="304800"/>
                </a:lnTo>
                <a:lnTo>
                  <a:pt x="5457825" y="314325"/>
                </a:lnTo>
                <a:cubicBezTo>
                  <a:pt x="5480574" y="316910"/>
                  <a:pt x="5514975" y="352425"/>
                  <a:pt x="5514975" y="352425"/>
                </a:cubicBezTo>
                <a:cubicBezTo>
                  <a:pt x="5521325" y="361950"/>
                  <a:pt x="5524317" y="374933"/>
                  <a:pt x="5534025" y="381000"/>
                </a:cubicBezTo>
                <a:cubicBezTo>
                  <a:pt x="5551053" y="391643"/>
                  <a:pt x="5572125" y="393700"/>
                  <a:pt x="5591175" y="400050"/>
                </a:cubicBezTo>
                <a:cubicBezTo>
                  <a:pt x="5632169" y="413715"/>
                  <a:pt x="5610010" y="407140"/>
                  <a:pt x="5657850" y="419100"/>
                </a:cubicBezTo>
                <a:lnTo>
                  <a:pt x="6096000" y="409575"/>
                </a:lnTo>
                <a:cubicBezTo>
                  <a:pt x="6120239" y="408586"/>
                  <a:pt x="6156345" y="378682"/>
                  <a:pt x="6172200" y="371475"/>
                </a:cubicBezTo>
                <a:cubicBezTo>
                  <a:pt x="6208091" y="355161"/>
                  <a:pt x="6247610" y="347221"/>
                  <a:pt x="6286500" y="342900"/>
                </a:cubicBezTo>
                <a:cubicBezTo>
                  <a:pt x="6462993" y="323290"/>
                  <a:pt x="6662452" y="327561"/>
                  <a:pt x="6829425" y="323850"/>
                </a:cubicBezTo>
                <a:lnTo>
                  <a:pt x="6896100" y="304800"/>
                </a:lnTo>
                <a:cubicBezTo>
                  <a:pt x="6905717" y="301915"/>
                  <a:pt x="6914736" y="296695"/>
                  <a:pt x="6924675" y="295275"/>
                </a:cubicBezTo>
                <a:cubicBezTo>
                  <a:pt x="7025557" y="280863"/>
                  <a:pt x="7083105" y="285750"/>
                  <a:pt x="7191375" y="285750"/>
                </a:cubicBez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57A817C8-0B90-43BA-B3DD-4E8ED1422BFF}"/>
              </a:ext>
            </a:extLst>
          </p:cNvPr>
          <p:cNvSpPr txBox="1"/>
          <p:nvPr/>
        </p:nvSpPr>
        <p:spPr>
          <a:xfrm>
            <a:off x="2514998" y="6550066"/>
            <a:ext cx="2181667" cy="6843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indent="-18097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n"/>
            </a:pPr>
            <a:r>
              <a:rPr lang="zh-CN" altLang="en-US" sz="1200" kern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情景</a:t>
            </a:r>
            <a:r>
              <a:rPr lang="en-US" altLang="zh-CN" sz="1200" kern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1</a:t>
            </a:r>
            <a:r>
              <a:rPr lang="zh-CN" altLang="en-US" sz="1200" kern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：发生敲出事件：产品提前结束，客户获得约定年化收益率结算的票息</a:t>
            </a:r>
            <a:endParaRPr lang="en-US" altLang="zh-CN" sz="1200" kern="1200" dirty="0">
              <a:solidFill>
                <a:srgbClr val="000000"/>
              </a:solidFill>
              <a:latin typeface="Arial" pitchFamily="34" charset="0"/>
              <a:ea typeface="楷体_GB2312" pitchFamily="49" charset="-122"/>
              <a:cs typeface="Arial" pitchFamily="34" charset="0"/>
            </a:endParaRPr>
          </a:p>
        </p:txBody>
      </p:sp>
      <p:sp>
        <p:nvSpPr>
          <p:cNvPr id="2060" name="椭圆 2059">
            <a:extLst>
              <a:ext uri="{FF2B5EF4-FFF2-40B4-BE49-F238E27FC236}">
                <a16:creationId xmlns:a16="http://schemas.microsoft.com/office/drawing/2014/main" id="{6500982C-4DDF-4A16-A9F1-B0AEFE01F984}"/>
              </a:ext>
            </a:extLst>
          </p:cNvPr>
          <p:cNvSpPr/>
          <p:nvPr/>
        </p:nvSpPr>
        <p:spPr>
          <a:xfrm>
            <a:off x="2941769" y="5977906"/>
            <a:ext cx="164808" cy="184678"/>
          </a:xfrm>
          <a:prstGeom prst="ellipse">
            <a:avLst/>
          </a:prstGeom>
          <a:solidFill>
            <a:srgbClr val="E7B17E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44AC629E-B706-4524-AF47-9731B6FD46D7}"/>
              </a:ext>
            </a:extLst>
          </p:cNvPr>
          <p:cNvSpPr txBox="1"/>
          <p:nvPr/>
        </p:nvSpPr>
        <p:spPr>
          <a:xfrm>
            <a:off x="5872662" y="6254129"/>
            <a:ext cx="2739526" cy="6843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indent="-18097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n"/>
            </a:pPr>
            <a:r>
              <a:rPr lang="zh-CN" altLang="en-US" sz="1200" kern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情景</a:t>
            </a:r>
            <a:r>
              <a:rPr lang="en-US" altLang="zh-CN" sz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2</a:t>
            </a:r>
            <a:r>
              <a:rPr lang="zh-CN" altLang="en-US" sz="1200" kern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：既没有发生敲出事件，又没有发生敲入事件，产品到期日客户获得约定年化收益率结算的票息</a:t>
            </a:r>
          </a:p>
        </p:txBody>
      </p:sp>
      <p:cxnSp>
        <p:nvCxnSpPr>
          <p:cNvPr id="2062" name="直接箭头连接符 2061">
            <a:extLst>
              <a:ext uri="{FF2B5EF4-FFF2-40B4-BE49-F238E27FC236}">
                <a16:creationId xmlns:a16="http://schemas.microsoft.com/office/drawing/2014/main" id="{2D80326E-260C-43EB-A2DC-7E50161E0A51}"/>
              </a:ext>
            </a:extLst>
          </p:cNvPr>
          <p:cNvCxnSpPr>
            <a:stCxn id="2057" idx="53"/>
          </p:cNvCxnSpPr>
          <p:nvPr/>
        </p:nvCxnSpPr>
        <p:spPr>
          <a:xfrm>
            <a:off x="5991225" y="5810250"/>
            <a:ext cx="88056" cy="495048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直接箭头连接符 90">
            <a:extLst>
              <a:ext uri="{FF2B5EF4-FFF2-40B4-BE49-F238E27FC236}">
                <a16:creationId xmlns:a16="http://schemas.microsoft.com/office/drawing/2014/main" id="{2B3BA601-ECEB-494D-B825-EF8BDF977EBF}"/>
              </a:ext>
            </a:extLst>
          </p:cNvPr>
          <p:cNvCxnSpPr>
            <a:cxnSpLocks/>
            <a:stCxn id="2054" idx="23"/>
          </p:cNvCxnSpPr>
          <p:nvPr/>
        </p:nvCxnSpPr>
        <p:spPr>
          <a:xfrm>
            <a:off x="3076575" y="6162675"/>
            <a:ext cx="98076" cy="387391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直接箭头连接符 94">
            <a:extLst>
              <a:ext uri="{FF2B5EF4-FFF2-40B4-BE49-F238E27FC236}">
                <a16:creationId xmlns:a16="http://schemas.microsoft.com/office/drawing/2014/main" id="{9B6A9CF8-45B4-4644-AF8F-31743DFAA067}"/>
              </a:ext>
            </a:extLst>
          </p:cNvPr>
          <p:cNvCxnSpPr>
            <a:cxnSpLocks/>
            <a:stCxn id="99" idx="1"/>
          </p:cNvCxnSpPr>
          <p:nvPr/>
        </p:nvCxnSpPr>
        <p:spPr>
          <a:xfrm flipH="1" flipV="1">
            <a:off x="3877963" y="4839204"/>
            <a:ext cx="580080" cy="426872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9" name="椭圆 98">
            <a:extLst>
              <a:ext uri="{FF2B5EF4-FFF2-40B4-BE49-F238E27FC236}">
                <a16:creationId xmlns:a16="http://schemas.microsoft.com/office/drawing/2014/main" id="{E4DCCA3E-6F21-4279-8702-BB1AA97E1AEE}"/>
              </a:ext>
            </a:extLst>
          </p:cNvPr>
          <p:cNvSpPr/>
          <p:nvPr/>
        </p:nvSpPr>
        <p:spPr>
          <a:xfrm>
            <a:off x="4433907" y="5239031"/>
            <a:ext cx="164808" cy="184678"/>
          </a:xfrm>
          <a:prstGeom prst="ellipse">
            <a:avLst/>
          </a:prstGeom>
          <a:solidFill>
            <a:srgbClr val="E7B17E"/>
          </a:solidFill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 err="1"/>
          </a:p>
        </p:txBody>
      </p:sp>
      <p:sp>
        <p:nvSpPr>
          <p:cNvPr id="100" name="文本框 99">
            <a:extLst>
              <a:ext uri="{FF2B5EF4-FFF2-40B4-BE49-F238E27FC236}">
                <a16:creationId xmlns:a16="http://schemas.microsoft.com/office/drawing/2014/main" id="{5AB2BDB9-C7DF-45E0-A445-80DE4C73F449}"/>
              </a:ext>
            </a:extLst>
          </p:cNvPr>
          <p:cNvSpPr txBox="1"/>
          <p:nvPr/>
        </p:nvSpPr>
        <p:spPr>
          <a:xfrm>
            <a:off x="2168867" y="4316432"/>
            <a:ext cx="1741012" cy="11307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indent="-18097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n"/>
            </a:pPr>
            <a:r>
              <a:rPr lang="zh-CN" altLang="en-US" sz="1200" kern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情景</a:t>
            </a:r>
            <a:r>
              <a:rPr lang="en-US" altLang="zh-CN" sz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3</a:t>
            </a:r>
            <a:r>
              <a:rPr lang="zh-CN" altLang="en-US" sz="1200" kern="1200" dirty="0">
                <a:solidFill>
                  <a:srgbClr val="000000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：发生敲出事件，产品提前结束，客户获得约定年化收益率结算的票息</a:t>
            </a:r>
          </a:p>
          <a:p>
            <a:pPr marL="180975" indent="-180975" algn="l" defTabSz="1019007" rtl="0" eaLnBrk="1" latinLnBrk="0" hangingPunct="1">
              <a:lnSpc>
                <a:spcPct val="110000"/>
              </a:lnSpc>
              <a:spcBef>
                <a:spcPts val="300"/>
              </a:spcBef>
              <a:buSzPct val="80000"/>
              <a:buFont typeface="Wingdings" pitchFamily="2" charset="2"/>
              <a:buChar char="n"/>
            </a:pPr>
            <a:endParaRPr lang="en-US" altLang="zh-CN" sz="1200" kern="1200" dirty="0">
              <a:solidFill>
                <a:srgbClr val="000000"/>
              </a:solidFill>
              <a:latin typeface="Arial" pitchFamily="34" charset="0"/>
              <a:ea typeface="楷体_GB2312" pitchFamily="49" charset="-122"/>
              <a:cs typeface="Arial" pitchFamily="34" charset="0"/>
            </a:endParaRPr>
          </a:p>
        </p:txBody>
      </p:sp>
      <p:sp>
        <p:nvSpPr>
          <p:cNvPr id="2069" name="任意多边形: 形状 2068">
            <a:extLst>
              <a:ext uri="{FF2B5EF4-FFF2-40B4-BE49-F238E27FC236}">
                <a16:creationId xmlns:a16="http://schemas.microsoft.com/office/drawing/2014/main" id="{8C8BF64B-6BFE-4A67-A54B-9033B1AADC66}"/>
              </a:ext>
            </a:extLst>
          </p:cNvPr>
          <p:cNvSpPr/>
          <p:nvPr/>
        </p:nvSpPr>
        <p:spPr>
          <a:xfrm>
            <a:off x="1463040" y="4598126"/>
            <a:ext cx="3997234" cy="1195215"/>
          </a:xfrm>
          <a:custGeom>
            <a:avLst/>
            <a:gdLst>
              <a:gd name="connsiteX0" fmla="*/ 0 w 3997234"/>
              <a:gd name="connsiteY0" fmla="*/ 766354 h 1195215"/>
              <a:gd name="connsiteX1" fmla="*/ 34834 w 3997234"/>
              <a:gd name="connsiteY1" fmla="*/ 809897 h 1195215"/>
              <a:gd name="connsiteX2" fmla="*/ 52251 w 3997234"/>
              <a:gd name="connsiteY2" fmla="*/ 836023 h 1195215"/>
              <a:gd name="connsiteX3" fmla="*/ 95794 w 3997234"/>
              <a:gd name="connsiteY3" fmla="*/ 879565 h 1195215"/>
              <a:gd name="connsiteX4" fmla="*/ 130629 w 3997234"/>
              <a:gd name="connsiteY4" fmla="*/ 923108 h 1195215"/>
              <a:gd name="connsiteX5" fmla="*/ 148046 w 3997234"/>
              <a:gd name="connsiteY5" fmla="*/ 949234 h 1195215"/>
              <a:gd name="connsiteX6" fmla="*/ 191589 w 3997234"/>
              <a:gd name="connsiteY6" fmla="*/ 992777 h 1195215"/>
              <a:gd name="connsiteX7" fmla="*/ 217714 w 3997234"/>
              <a:gd name="connsiteY7" fmla="*/ 1018903 h 1195215"/>
              <a:gd name="connsiteX8" fmla="*/ 243840 w 3997234"/>
              <a:gd name="connsiteY8" fmla="*/ 1027611 h 1195215"/>
              <a:gd name="connsiteX9" fmla="*/ 261257 w 3997234"/>
              <a:gd name="connsiteY9" fmla="*/ 1053737 h 1195215"/>
              <a:gd name="connsiteX10" fmla="*/ 313509 w 3997234"/>
              <a:gd name="connsiteY10" fmla="*/ 1071154 h 1195215"/>
              <a:gd name="connsiteX11" fmla="*/ 339634 w 3997234"/>
              <a:gd name="connsiteY11" fmla="*/ 1079863 h 1195215"/>
              <a:gd name="connsiteX12" fmla="*/ 391886 w 3997234"/>
              <a:gd name="connsiteY12" fmla="*/ 1114697 h 1195215"/>
              <a:gd name="connsiteX13" fmla="*/ 418011 w 3997234"/>
              <a:gd name="connsiteY13" fmla="*/ 1132114 h 1195215"/>
              <a:gd name="connsiteX14" fmla="*/ 478971 w 3997234"/>
              <a:gd name="connsiteY14" fmla="*/ 1149531 h 1195215"/>
              <a:gd name="connsiteX15" fmla="*/ 539931 w 3997234"/>
              <a:gd name="connsiteY15" fmla="*/ 1166948 h 1195215"/>
              <a:gd name="connsiteX16" fmla="*/ 696686 w 3997234"/>
              <a:gd name="connsiteY16" fmla="*/ 1193074 h 1195215"/>
              <a:gd name="connsiteX17" fmla="*/ 1689463 w 3997234"/>
              <a:gd name="connsiteY17" fmla="*/ 1184365 h 1195215"/>
              <a:gd name="connsiteX18" fmla="*/ 1828800 w 3997234"/>
              <a:gd name="connsiteY18" fmla="*/ 1175657 h 1195215"/>
              <a:gd name="connsiteX19" fmla="*/ 1959429 w 3997234"/>
              <a:gd name="connsiteY19" fmla="*/ 1158240 h 1195215"/>
              <a:gd name="connsiteX20" fmla="*/ 2063931 w 3997234"/>
              <a:gd name="connsiteY20" fmla="*/ 1149531 h 1195215"/>
              <a:gd name="connsiteX21" fmla="*/ 2133600 w 3997234"/>
              <a:gd name="connsiteY21" fmla="*/ 1123405 h 1195215"/>
              <a:gd name="connsiteX22" fmla="*/ 2185851 w 3997234"/>
              <a:gd name="connsiteY22" fmla="*/ 1105988 h 1195215"/>
              <a:gd name="connsiteX23" fmla="*/ 2246811 w 3997234"/>
              <a:gd name="connsiteY23" fmla="*/ 1071154 h 1195215"/>
              <a:gd name="connsiteX24" fmla="*/ 2290354 w 3997234"/>
              <a:gd name="connsiteY24" fmla="*/ 1036320 h 1195215"/>
              <a:gd name="connsiteX25" fmla="*/ 2351314 w 3997234"/>
              <a:gd name="connsiteY25" fmla="*/ 1001485 h 1195215"/>
              <a:gd name="connsiteX26" fmla="*/ 2377440 w 3997234"/>
              <a:gd name="connsiteY26" fmla="*/ 975360 h 1195215"/>
              <a:gd name="connsiteX27" fmla="*/ 2473234 w 3997234"/>
              <a:gd name="connsiteY27" fmla="*/ 957943 h 1195215"/>
              <a:gd name="connsiteX28" fmla="*/ 2603863 w 3997234"/>
              <a:gd name="connsiteY28" fmla="*/ 931817 h 1195215"/>
              <a:gd name="connsiteX29" fmla="*/ 2647406 w 3997234"/>
              <a:gd name="connsiteY29" fmla="*/ 914400 h 1195215"/>
              <a:gd name="connsiteX30" fmla="*/ 2682240 w 3997234"/>
              <a:gd name="connsiteY30" fmla="*/ 905691 h 1195215"/>
              <a:gd name="connsiteX31" fmla="*/ 2708366 w 3997234"/>
              <a:gd name="connsiteY31" fmla="*/ 888274 h 1195215"/>
              <a:gd name="connsiteX32" fmla="*/ 2751909 w 3997234"/>
              <a:gd name="connsiteY32" fmla="*/ 879565 h 1195215"/>
              <a:gd name="connsiteX33" fmla="*/ 2778034 w 3997234"/>
              <a:gd name="connsiteY33" fmla="*/ 870857 h 1195215"/>
              <a:gd name="connsiteX34" fmla="*/ 2812869 w 3997234"/>
              <a:gd name="connsiteY34" fmla="*/ 862148 h 1195215"/>
              <a:gd name="connsiteX35" fmla="*/ 2882537 w 3997234"/>
              <a:gd name="connsiteY35" fmla="*/ 827314 h 1195215"/>
              <a:gd name="connsiteX36" fmla="*/ 2943497 w 3997234"/>
              <a:gd name="connsiteY36" fmla="*/ 801188 h 1195215"/>
              <a:gd name="connsiteX37" fmla="*/ 3004457 w 3997234"/>
              <a:gd name="connsiteY37" fmla="*/ 766354 h 1195215"/>
              <a:gd name="connsiteX38" fmla="*/ 3082834 w 3997234"/>
              <a:gd name="connsiteY38" fmla="*/ 714103 h 1195215"/>
              <a:gd name="connsiteX39" fmla="*/ 3143794 w 3997234"/>
              <a:gd name="connsiteY39" fmla="*/ 670560 h 1195215"/>
              <a:gd name="connsiteX40" fmla="*/ 3169920 w 3997234"/>
              <a:gd name="connsiteY40" fmla="*/ 644434 h 1195215"/>
              <a:gd name="connsiteX41" fmla="*/ 3222171 w 3997234"/>
              <a:gd name="connsiteY41" fmla="*/ 618308 h 1195215"/>
              <a:gd name="connsiteX42" fmla="*/ 3265714 w 3997234"/>
              <a:gd name="connsiteY42" fmla="*/ 583474 h 1195215"/>
              <a:gd name="connsiteX43" fmla="*/ 3317966 w 3997234"/>
              <a:gd name="connsiteY43" fmla="*/ 531223 h 1195215"/>
              <a:gd name="connsiteX44" fmla="*/ 3335383 w 3997234"/>
              <a:gd name="connsiteY44" fmla="*/ 513805 h 1195215"/>
              <a:gd name="connsiteX45" fmla="*/ 3370217 w 3997234"/>
              <a:gd name="connsiteY45" fmla="*/ 487680 h 1195215"/>
              <a:gd name="connsiteX46" fmla="*/ 3396343 w 3997234"/>
              <a:gd name="connsiteY46" fmla="*/ 478971 h 1195215"/>
              <a:gd name="connsiteX47" fmla="*/ 3457303 w 3997234"/>
              <a:gd name="connsiteY47" fmla="*/ 435428 h 1195215"/>
              <a:gd name="connsiteX48" fmla="*/ 3483429 w 3997234"/>
              <a:gd name="connsiteY48" fmla="*/ 409303 h 1195215"/>
              <a:gd name="connsiteX49" fmla="*/ 3518263 w 3997234"/>
              <a:gd name="connsiteY49" fmla="*/ 383177 h 1195215"/>
              <a:gd name="connsiteX50" fmla="*/ 3544389 w 3997234"/>
              <a:gd name="connsiteY50" fmla="*/ 357051 h 1195215"/>
              <a:gd name="connsiteX51" fmla="*/ 3587931 w 3997234"/>
              <a:gd name="connsiteY51" fmla="*/ 339634 h 1195215"/>
              <a:gd name="connsiteX52" fmla="*/ 3605349 w 3997234"/>
              <a:gd name="connsiteY52" fmla="*/ 313508 h 1195215"/>
              <a:gd name="connsiteX53" fmla="*/ 3631474 w 3997234"/>
              <a:gd name="connsiteY53" fmla="*/ 304800 h 1195215"/>
              <a:gd name="connsiteX54" fmla="*/ 3657600 w 3997234"/>
              <a:gd name="connsiteY54" fmla="*/ 287383 h 1195215"/>
              <a:gd name="connsiteX55" fmla="*/ 3735977 w 3997234"/>
              <a:gd name="connsiteY55" fmla="*/ 217714 h 1195215"/>
              <a:gd name="connsiteX56" fmla="*/ 3762103 w 3997234"/>
              <a:gd name="connsiteY56" fmla="*/ 209005 h 1195215"/>
              <a:gd name="connsiteX57" fmla="*/ 3831771 w 3997234"/>
              <a:gd name="connsiteY57" fmla="*/ 148045 h 1195215"/>
              <a:gd name="connsiteX58" fmla="*/ 3857897 w 3997234"/>
              <a:gd name="connsiteY58" fmla="*/ 130628 h 1195215"/>
              <a:gd name="connsiteX59" fmla="*/ 3918857 w 3997234"/>
              <a:gd name="connsiteY59" fmla="*/ 69668 h 1195215"/>
              <a:gd name="connsiteX60" fmla="*/ 3936274 w 3997234"/>
              <a:gd name="connsiteY60" fmla="*/ 43543 h 1195215"/>
              <a:gd name="connsiteX61" fmla="*/ 3988526 w 3997234"/>
              <a:gd name="connsiteY61" fmla="*/ 8708 h 1195215"/>
              <a:gd name="connsiteX62" fmla="*/ 3997234 w 3997234"/>
              <a:gd name="connsiteY62" fmla="*/ 0 h 1195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3997234" h="1195215">
                <a:moveTo>
                  <a:pt x="0" y="766354"/>
                </a:moveTo>
                <a:cubicBezTo>
                  <a:pt x="11611" y="780868"/>
                  <a:pt x="23682" y="795027"/>
                  <a:pt x="34834" y="809897"/>
                </a:cubicBezTo>
                <a:cubicBezTo>
                  <a:pt x="41114" y="818270"/>
                  <a:pt x="45359" y="828146"/>
                  <a:pt x="52251" y="836023"/>
                </a:cubicBezTo>
                <a:cubicBezTo>
                  <a:pt x="65768" y="851470"/>
                  <a:pt x="95794" y="879565"/>
                  <a:pt x="95794" y="879565"/>
                </a:cubicBezTo>
                <a:cubicBezTo>
                  <a:pt x="112749" y="930428"/>
                  <a:pt x="91237" y="883716"/>
                  <a:pt x="130629" y="923108"/>
                </a:cubicBezTo>
                <a:cubicBezTo>
                  <a:pt x="138030" y="930509"/>
                  <a:pt x="141154" y="941357"/>
                  <a:pt x="148046" y="949234"/>
                </a:cubicBezTo>
                <a:cubicBezTo>
                  <a:pt x="161563" y="964682"/>
                  <a:pt x="177075" y="978263"/>
                  <a:pt x="191589" y="992777"/>
                </a:cubicBezTo>
                <a:cubicBezTo>
                  <a:pt x="200297" y="1001486"/>
                  <a:pt x="206030" y="1015009"/>
                  <a:pt x="217714" y="1018903"/>
                </a:cubicBezTo>
                <a:lnTo>
                  <a:pt x="243840" y="1027611"/>
                </a:lnTo>
                <a:cubicBezTo>
                  <a:pt x="249646" y="1036320"/>
                  <a:pt x="252381" y="1048190"/>
                  <a:pt x="261257" y="1053737"/>
                </a:cubicBezTo>
                <a:cubicBezTo>
                  <a:pt x="276826" y="1063467"/>
                  <a:pt x="296092" y="1065348"/>
                  <a:pt x="313509" y="1071154"/>
                </a:cubicBezTo>
                <a:cubicBezTo>
                  <a:pt x="322217" y="1074057"/>
                  <a:pt x="331996" y="1074771"/>
                  <a:pt x="339634" y="1079863"/>
                </a:cubicBezTo>
                <a:lnTo>
                  <a:pt x="391886" y="1114697"/>
                </a:lnTo>
                <a:cubicBezTo>
                  <a:pt x="400594" y="1120503"/>
                  <a:pt x="408082" y="1128804"/>
                  <a:pt x="418011" y="1132114"/>
                </a:cubicBezTo>
                <a:cubicBezTo>
                  <a:pt x="480653" y="1152995"/>
                  <a:pt x="402426" y="1127661"/>
                  <a:pt x="478971" y="1149531"/>
                </a:cubicBezTo>
                <a:cubicBezTo>
                  <a:pt x="566424" y="1174517"/>
                  <a:pt x="431036" y="1139726"/>
                  <a:pt x="539931" y="1166948"/>
                </a:cubicBezTo>
                <a:cubicBezTo>
                  <a:pt x="598984" y="1206316"/>
                  <a:pt x="569722" y="1193074"/>
                  <a:pt x="696686" y="1193074"/>
                </a:cubicBezTo>
                <a:lnTo>
                  <a:pt x="1689463" y="1184365"/>
                </a:lnTo>
                <a:lnTo>
                  <a:pt x="1828800" y="1175657"/>
                </a:lnTo>
                <a:cubicBezTo>
                  <a:pt x="2036569" y="1159036"/>
                  <a:pt x="1806120" y="1175274"/>
                  <a:pt x="1959429" y="1158240"/>
                </a:cubicBezTo>
                <a:cubicBezTo>
                  <a:pt x="1994170" y="1154380"/>
                  <a:pt x="2029097" y="1152434"/>
                  <a:pt x="2063931" y="1149531"/>
                </a:cubicBezTo>
                <a:cubicBezTo>
                  <a:pt x="2141545" y="1123662"/>
                  <a:pt x="2019108" y="1165039"/>
                  <a:pt x="2133600" y="1123405"/>
                </a:cubicBezTo>
                <a:cubicBezTo>
                  <a:pt x="2150854" y="1117131"/>
                  <a:pt x="2170575" y="1116172"/>
                  <a:pt x="2185851" y="1105988"/>
                </a:cubicBezTo>
                <a:cubicBezTo>
                  <a:pt x="2222779" y="1081370"/>
                  <a:pt x="2202616" y="1093252"/>
                  <a:pt x="2246811" y="1071154"/>
                </a:cubicBezTo>
                <a:cubicBezTo>
                  <a:pt x="2279863" y="1021578"/>
                  <a:pt x="2245054" y="1062206"/>
                  <a:pt x="2290354" y="1036320"/>
                </a:cubicBezTo>
                <a:cubicBezTo>
                  <a:pt x="2364170" y="994140"/>
                  <a:pt x="2291411" y="1021454"/>
                  <a:pt x="2351314" y="1001485"/>
                </a:cubicBezTo>
                <a:cubicBezTo>
                  <a:pt x="2360023" y="992777"/>
                  <a:pt x="2367193" y="982191"/>
                  <a:pt x="2377440" y="975360"/>
                </a:cubicBezTo>
                <a:cubicBezTo>
                  <a:pt x="2396030" y="962967"/>
                  <a:pt x="2470274" y="958313"/>
                  <a:pt x="2473234" y="957943"/>
                </a:cubicBezTo>
                <a:cubicBezTo>
                  <a:pt x="2550353" y="919382"/>
                  <a:pt x="2461537" y="958503"/>
                  <a:pt x="2603863" y="931817"/>
                </a:cubicBezTo>
                <a:cubicBezTo>
                  <a:pt x="2619228" y="928936"/>
                  <a:pt x="2632576" y="919343"/>
                  <a:pt x="2647406" y="914400"/>
                </a:cubicBezTo>
                <a:cubicBezTo>
                  <a:pt x="2658761" y="910615"/>
                  <a:pt x="2670629" y="908594"/>
                  <a:pt x="2682240" y="905691"/>
                </a:cubicBezTo>
                <a:cubicBezTo>
                  <a:pt x="2690949" y="899885"/>
                  <a:pt x="2698566" y="891949"/>
                  <a:pt x="2708366" y="888274"/>
                </a:cubicBezTo>
                <a:cubicBezTo>
                  <a:pt x="2722225" y="883077"/>
                  <a:pt x="2737549" y="883155"/>
                  <a:pt x="2751909" y="879565"/>
                </a:cubicBezTo>
                <a:cubicBezTo>
                  <a:pt x="2760814" y="877339"/>
                  <a:pt x="2769208" y="873379"/>
                  <a:pt x="2778034" y="870857"/>
                </a:cubicBezTo>
                <a:cubicBezTo>
                  <a:pt x="2789543" y="867569"/>
                  <a:pt x="2801821" y="866751"/>
                  <a:pt x="2812869" y="862148"/>
                </a:cubicBezTo>
                <a:cubicBezTo>
                  <a:pt x="2836836" y="852162"/>
                  <a:pt x="2857906" y="835525"/>
                  <a:pt x="2882537" y="827314"/>
                </a:cubicBezTo>
                <a:cubicBezTo>
                  <a:pt x="2903857" y="820207"/>
                  <a:pt x="2924665" y="814639"/>
                  <a:pt x="2943497" y="801188"/>
                </a:cubicBezTo>
                <a:cubicBezTo>
                  <a:pt x="2999372" y="761278"/>
                  <a:pt x="2936989" y="783222"/>
                  <a:pt x="3004457" y="766354"/>
                </a:cubicBezTo>
                <a:lnTo>
                  <a:pt x="3082834" y="714103"/>
                </a:lnTo>
                <a:cubicBezTo>
                  <a:pt x="3103505" y="700322"/>
                  <a:pt x="3124898" y="686757"/>
                  <a:pt x="3143794" y="670560"/>
                </a:cubicBezTo>
                <a:cubicBezTo>
                  <a:pt x="3153145" y="662545"/>
                  <a:pt x="3160459" y="652318"/>
                  <a:pt x="3169920" y="644434"/>
                </a:cubicBezTo>
                <a:cubicBezTo>
                  <a:pt x="3192428" y="625677"/>
                  <a:pt x="3195988" y="627036"/>
                  <a:pt x="3222171" y="618308"/>
                </a:cubicBezTo>
                <a:cubicBezTo>
                  <a:pt x="3269982" y="546598"/>
                  <a:pt x="3207470" y="628775"/>
                  <a:pt x="3265714" y="583474"/>
                </a:cubicBezTo>
                <a:cubicBezTo>
                  <a:pt x="3285157" y="568352"/>
                  <a:pt x="3300549" y="548640"/>
                  <a:pt x="3317966" y="531223"/>
                </a:cubicBezTo>
                <a:cubicBezTo>
                  <a:pt x="3323772" y="525417"/>
                  <a:pt x="3328814" y="518731"/>
                  <a:pt x="3335383" y="513805"/>
                </a:cubicBezTo>
                <a:cubicBezTo>
                  <a:pt x="3346994" y="505097"/>
                  <a:pt x="3357615" y="494881"/>
                  <a:pt x="3370217" y="487680"/>
                </a:cubicBezTo>
                <a:cubicBezTo>
                  <a:pt x="3378187" y="483126"/>
                  <a:pt x="3388132" y="483076"/>
                  <a:pt x="3396343" y="478971"/>
                </a:cubicBezTo>
                <a:cubicBezTo>
                  <a:pt x="3407373" y="473456"/>
                  <a:pt x="3451777" y="440165"/>
                  <a:pt x="3457303" y="435428"/>
                </a:cubicBezTo>
                <a:cubicBezTo>
                  <a:pt x="3466654" y="427413"/>
                  <a:pt x="3474078" y="417318"/>
                  <a:pt x="3483429" y="409303"/>
                </a:cubicBezTo>
                <a:cubicBezTo>
                  <a:pt x="3494449" y="399857"/>
                  <a:pt x="3507243" y="392623"/>
                  <a:pt x="3518263" y="383177"/>
                </a:cubicBezTo>
                <a:cubicBezTo>
                  <a:pt x="3527614" y="375162"/>
                  <a:pt x="3533945" y="363578"/>
                  <a:pt x="3544389" y="357051"/>
                </a:cubicBezTo>
                <a:cubicBezTo>
                  <a:pt x="3557645" y="348766"/>
                  <a:pt x="3573417" y="345440"/>
                  <a:pt x="3587931" y="339634"/>
                </a:cubicBezTo>
                <a:cubicBezTo>
                  <a:pt x="3593737" y="330925"/>
                  <a:pt x="3597176" y="320046"/>
                  <a:pt x="3605349" y="313508"/>
                </a:cubicBezTo>
                <a:cubicBezTo>
                  <a:pt x="3612517" y="307774"/>
                  <a:pt x="3623264" y="308905"/>
                  <a:pt x="3631474" y="304800"/>
                </a:cubicBezTo>
                <a:cubicBezTo>
                  <a:pt x="3640836" y="300119"/>
                  <a:pt x="3649723" y="294275"/>
                  <a:pt x="3657600" y="287383"/>
                </a:cubicBezTo>
                <a:cubicBezTo>
                  <a:pt x="3690922" y="258226"/>
                  <a:pt x="3699206" y="238726"/>
                  <a:pt x="3735977" y="217714"/>
                </a:cubicBezTo>
                <a:cubicBezTo>
                  <a:pt x="3743947" y="213159"/>
                  <a:pt x="3753394" y="211908"/>
                  <a:pt x="3762103" y="209005"/>
                </a:cubicBezTo>
                <a:cubicBezTo>
                  <a:pt x="3791131" y="165464"/>
                  <a:pt x="3770812" y="188685"/>
                  <a:pt x="3831771" y="148045"/>
                </a:cubicBezTo>
                <a:lnTo>
                  <a:pt x="3857897" y="130628"/>
                </a:lnTo>
                <a:cubicBezTo>
                  <a:pt x="3897823" y="70739"/>
                  <a:pt x="3872873" y="84997"/>
                  <a:pt x="3918857" y="69668"/>
                </a:cubicBezTo>
                <a:cubicBezTo>
                  <a:pt x="3924663" y="60960"/>
                  <a:pt x="3928397" y="50435"/>
                  <a:pt x="3936274" y="43543"/>
                </a:cubicBezTo>
                <a:cubicBezTo>
                  <a:pt x="3952028" y="29759"/>
                  <a:pt x="3973724" y="23510"/>
                  <a:pt x="3988526" y="8708"/>
                </a:cubicBezTo>
                <a:lnTo>
                  <a:pt x="3997234" y="0"/>
                </a:ln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47568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FC5DA3B-665D-44B6-903C-C2124AC39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案例：创业板指数最大回撤分布情况研究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B581682-8138-43CE-99FA-D971C87A512A}"/>
              </a:ext>
            </a:extLst>
          </p:cNvPr>
          <p:cNvSpPr/>
          <p:nvPr/>
        </p:nvSpPr>
        <p:spPr>
          <a:xfrm>
            <a:off x="563923" y="3918549"/>
            <a:ext cx="8938851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2016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年以来创业板指反向最大亏损分布图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7" name="图表 6">
                <a:extLst>
                  <a:ext uri="{FF2B5EF4-FFF2-40B4-BE49-F238E27FC236}">
                    <a16:creationId xmlns:a16="http://schemas.microsoft.com/office/drawing/2014/main" id="{B41EC55E-8D59-4CC7-B4A1-8ED00609AB55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953990317"/>
                  </p:ext>
                </p:extLst>
              </p:nvPr>
            </p:nvGraphicFramePr>
            <p:xfrm>
              <a:off x="560568" y="2054397"/>
              <a:ext cx="8938852" cy="168858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7" name="图表 6">
                <a:extLst>
                  <a:ext uri="{FF2B5EF4-FFF2-40B4-BE49-F238E27FC236}">
                    <a16:creationId xmlns:a16="http://schemas.microsoft.com/office/drawing/2014/main" id="{B41EC55E-8D59-4CC7-B4A1-8ED00609AB5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60568" y="2054397"/>
                <a:ext cx="8938852" cy="168858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8" name="图表 7">
                <a:extLst>
                  <a:ext uri="{FF2B5EF4-FFF2-40B4-BE49-F238E27FC236}">
                    <a16:creationId xmlns:a16="http://schemas.microsoft.com/office/drawing/2014/main" id="{8BCA00C1-1A73-4531-AEF9-3A1551A78419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132928192"/>
                  </p:ext>
                </p:extLst>
              </p:nvPr>
            </p:nvGraphicFramePr>
            <p:xfrm>
              <a:off x="560594" y="4429909"/>
              <a:ext cx="8938800" cy="16884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8" name="图表 7">
                <a:extLst>
                  <a:ext uri="{FF2B5EF4-FFF2-40B4-BE49-F238E27FC236}">
                    <a16:creationId xmlns:a16="http://schemas.microsoft.com/office/drawing/2014/main" id="{8BCA00C1-1A73-4531-AEF9-3A1551A7841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60594" y="4429909"/>
                <a:ext cx="8938800" cy="168840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矩形 8">
            <a:extLst>
              <a:ext uri="{FF2B5EF4-FFF2-40B4-BE49-F238E27FC236}">
                <a16:creationId xmlns:a16="http://schemas.microsoft.com/office/drawing/2014/main" id="{18E8B8BF-808F-4E34-B508-C0A6BC868A27}"/>
              </a:ext>
            </a:extLst>
          </p:cNvPr>
          <p:cNvSpPr/>
          <p:nvPr/>
        </p:nvSpPr>
        <p:spPr>
          <a:xfrm>
            <a:off x="560569" y="1647586"/>
            <a:ext cx="8938851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2016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年以来创业板指反向最大回撤分布图</a:t>
            </a:r>
          </a:p>
        </p:txBody>
      </p:sp>
    </p:spTree>
    <p:extLst>
      <p:ext uri="{BB962C8B-B14F-4D97-AF65-F5344CB8AC3E}">
        <p14:creationId xmlns:p14="http://schemas.microsoft.com/office/powerpoint/2010/main" val="170861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FC5DA3B-665D-44B6-903C-C2124AC39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案例：创业板指数最大回撤分布情况研究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8E8B8BF-808F-4E34-B508-C0A6BC868A27}"/>
              </a:ext>
            </a:extLst>
          </p:cNvPr>
          <p:cNvSpPr/>
          <p:nvPr/>
        </p:nvSpPr>
        <p:spPr>
          <a:xfrm>
            <a:off x="560569" y="1647586"/>
            <a:ext cx="414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按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PE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分组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360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个交易日内最大回撤分布图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0" name="图表 9">
                <a:extLst>
                  <a:ext uri="{FF2B5EF4-FFF2-40B4-BE49-F238E27FC236}">
                    <a16:creationId xmlns:a16="http://schemas.microsoft.com/office/drawing/2014/main" id="{CF54F8EF-E0E2-49F3-AB95-FB7A5534D290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744874435"/>
                  </p:ext>
                </p:extLst>
              </p:nvPr>
            </p:nvGraphicFramePr>
            <p:xfrm>
              <a:off x="493490" y="1947559"/>
              <a:ext cx="4250344" cy="237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10" name="图表 9">
                <a:extLst>
                  <a:ext uri="{FF2B5EF4-FFF2-40B4-BE49-F238E27FC236}">
                    <a16:creationId xmlns:a16="http://schemas.microsoft.com/office/drawing/2014/main" id="{CF54F8EF-E0E2-49F3-AB95-FB7A5534D29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3490" y="1947559"/>
                <a:ext cx="4250344" cy="237600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矩形 11">
            <a:extLst>
              <a:ext uri="{FF2B5EF4-FFF2-40B4-BE49-F238E27FC236}">
                <a16:creationId xmlns:a16="http://schemas.microsoft.com/office/drawing/2014/main" id="{15606538-EAAF-404A-B366-F7AC2F8F4BEC}"/>
              </a:ext>
            </a:extLst>
          </p:cNvPr>
          <p:cNvSpPr/>
          <p:nvPr/>
        </p:nvSpPr>
        <p:spPr>
          <a:xfrm>
            <a:off x="5318026" y="1647586"/>
            <a:ext cx="414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按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PE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分组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360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个交易日内最大亏损分布图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3" name="图表 12">
                <a:extLst>
                  <a:ext uri="{FF2B5EF4-FFF2-40B4-BE49-F238E27FC236}">
                    <a16:creationId xmlns:a16="http://schemas.microsoft.com/office/drawing/2014/main" id="{1F56C32F-5526-4CA3-9D40-54720F1C0312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4147204410"/>
                  </p:ext>
                </p:extLst>
              </p:nvPr>
            </p:nvGraphicFramePr>
            <p:xfrm>
              <a:off x="5286364" y="1942778"/>
              <a:ext cx="4251600" cy="237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13" name="图表 12">
                <a:extLst>
                  <a:ext uri="{FF2B5EF4-FFF2-40B4-BE49-F238E27FC236}">
                    <a16:creationId xmlns:a16="http://schemas.microsoft.com/office/drawing/2014/main" id="{1F56C32F-5526-4CA3-9D40-54720F1C031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286364" y="1942778"/>
                <a:ext cx="4251600" cy="2376000"/>
              </a:xfrm>
              <a:prstGeom prst="rect">
                <a:avLst/>
              </a:prstGeom>
            </p:spPr>
          </p:pic>
        </mc:Fallback>
      </mc:AlternateContent>
      <p:sp>
        <p:nvSpPr>
          <p:cNvPr id="14" name="矩形 13">
            <a:extLst>
              <a:ext uri="{FF2B5EF4-FFF2-40B4-BE49-F238E27FC236}">
                <a16:creationId xmlns:a16="http://schemas.microsoft.com/office/drawing/2014/main" id="{C6E81E9F-309B-4C12-868E-0A1FA35A6F01}"/>
              </a:ext>
            </a:extLst>
          </p:cNvPr>
          <p:cNvSpPr/>
          <p:nvPr/>
        </p:nvSpPr>
        <p:spPr>
          <a:xfrm>
            <a:off x="565498" y="4319042"/>
            <a:ext cx="414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按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P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指数组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360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个交易日内最大回撤分布图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57CDFF2-AA70-40D6-AFC4-DBFE14E01F16}"/>
              </a:ext>
            </a:extLst>
          </p:cNvPr>
          <p:cNvSpPr/>
          <p:nvPr/>
        </p:nvSpPr>
        <p:spPr>
          <a:xfrm>
            <a:off x="5322955" y="4319042"/>
            <a:ext cx="414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按指数分组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360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个交易日内最大亏损分布图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6" name="图表 15">
                <a:extLst>
                  <a:ext uri="{FF2B5EF4-FFF2-40B4-BE49-F238E27FC236}">
                    <a16:creationId xmlns:a16="http://schemas.microsoft.com/office/drawing/2014/main" id="{6CF84C51-7F87-497B-9F6D-67564A199EFB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500766257"/>
                  </p:ext>
                </p:extLst>
              </p:nvPr>
            </p:nvGraphicFramePr>
            <p:xfrm>
              <a:off x="493490" y="4573927"/>
              <a:ext cx="4251600" cy="237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16" name="图表 15">
                <a:extLst>
                  <a:ext uri="{FF2B5EF4-FFF2-40B4-BE49-F238E27FC236}">
                    <a16:creationId xmlns:a16="http://schemas.microsoft.com/office/drawing/2014/main" id="{6CF84C51-7F87-497B-9F6D-67564A199EF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93490" y="4573927"/>
                <a:ext cx="4251600" cy="237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7" name="图表 16">
                <a:extLst>
                  <a:ext uri="{FF2B5EF4-FFF2-40B4-BE49-F238E27FC236}">
                    <a16:creationId xmlns:a16="http://schemas.microsoft.com/office/drawing/2014/main" id="{4CC2BC03-7B30-47E9-8790-132ECDAD34CD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951585858"/>
                  </p:ext>
                </p:extLst>
              </p:nvPr>
            </p:nvGraphicFramePr>
            <p:xfrm>
              <a:off x="5286364" y="4573927"/>
              <a:ext cx="4251600" cy="237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>
          <p:pic>
            <p:nvPicPr>
              <p:cNvPr id="17" name="图表 16">
                <a:extLst>
                  <a:ext uri="{FF2B5EF4-FFF2-40B4-BE49-F238E27FC236}">
                    <a16:creationId xmlns:a16="http://schemas.microsoft.com/office/drawing/2014/main" id="{4CC2BC03-7B30-47E9-8790-132ECDAD34C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286364" y="4573927"/>
                <a:ext cx="4251600" cy="237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42626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FC5DA3B-665D-44B6-903C-C2124AC39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案例：创业板指数最大回撤分布情况研究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8E8B8BF-808F-4E34-B508-C0A6BC868A27}"/>
              </a:ext>
            </a:extLst>
          </p:cNvPr>
          <p:cNvSpPr/>
          <p:nvPr/>
        </p:nvSpPr>
        <p:spPr>
          <a:xfrm>
            <a:off x="560569" y="1647586"/>
            <a:ext cx="414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反向最大回撤实现的期限分布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15606538-EAAF-404A-B366-F7AC2F8F4BEC}"/>
              </a:ext>
            </a:extLst>
          </p:cNvPr>
          <p:cNvSpPr/>
          <p:nvPr/>
        </p:nvSpPr>
        <p:spPr>
          <a:xfrm>
            <a:off x="5318026" y="1647586"/>
            <a:ext cx="414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反向最大回撤达到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20%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时指数在反弹至期初点位的期限分布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C6E81E9F-309B-4C12-868E-0A1FA35A6F01}"/>
              </a:ext>
            </a:extLst>
          </p:cNvPr>
          <p:cNvSpPr/>
          <p:nvPr/>
        </p:nvSpPr>
        <p:spPr>
          <a:xfrm>
            <a:off x="565498" y="4319042"/>
            <a:ext cx="414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反向最大回撤达到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30%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时指数在反弹至期初点位的期限分布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57CDFF2-AA70-40D6-AFC4-DBFE14E01F16}"/>
              </a:ext>
            </a:extLst>
          </p:cNvPr>
          <p:cNvSpPr/>
          <p:nvPr/>
        </p:nvSpPr>
        <p:spPr>
          <a:xfrm>
            <a:off x="5322955" y="4319042"/>
            <a:ext cx="4140000" cy="367200"/>
          </a:xfrm>
          <a:prstGeom prst="rect">
            <a:avLst/>
          </a:prstGeom>
          <a:solidFill>
            <a:srgbClr val="626A7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tIns="0" rIns="72000" bIns="0" rtlCol="0" anchor="ctr">
            <a:no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反向最大回撤达到</a:t>
            </a:r>
            <a:r>
              <a:rPr lang="en-US" altLang="zh-CN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40%</a:t>
            </a:r>
            <a:r>
              <a:rPr lang="zh-CN" altLang="en-US" sz="1200" b="1" dirty="0">
                <a:solidFill>
                  <a:schemeClr val="bg1"/>
                </a:solidFill>
                <a:latin typeface="Arial" pitchFamily="34" charset="0"/>
                <a:ea typeface="楷体_GB2312" pitchFamily="49" charset="-122"/>
                <a:cs typeface="Arial" pitchFamily="34" charset="0"/>
              </a:rPr>
              <a:t>时指数在反弹至期初点位的期限分布</a:t>
            </a: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7" name="图表 6">
                <a:extLst>
                  <a:ext uri="{FF2B5EF4-FFF2-40B4-BE49-F238E27FC236}">
                    <a16:creationId xmlns:a16="http://schemas.microsoft.com/office/drawing/2014/main" id="{B0DA8E14-8E6F-4E93-99A2-D4DBCC5507EC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29763068"/>
                  </p:ext>
                </p:extLst>
              </p:nvPr>
            </p:nvGraphicFramePr>
            <p:xfrm>
              <a:off x="601920" y="1985224"/>
              <a:ext cx="4251600" cy="237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7" name="图表 6">
                <a:extLst>
                  <a:ext uri="{FF2B5EF4-FFF2-40B4-BE49-F238E27FC236}">
                    <a16:creationId xmlns:a16="http://schemas.microsoft.com/office/drawing/2014/main" id="{B0DA8E14-8E6F-4E93-99A2-D4DBCC5507E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01920" y="1985224"/>
                <a:ext cx="4251600" cy="237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0" name="图表 9">
                <a:extLst>
                  <a:ext uri="{FF2B5EF4-FFF2-40B4-BE49-F238E27FC236}">
                    <a16:creationId xmlns:a16="http://schemas.microsoft.com/office/drawing/2014/main" id="{983B6ACC-8913-4FA4-AFE2-CFC100D0FC8E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645368126"/>
                  </p:ext>
                </p:extLst>
              </p:nvPr>
            </p:nvGraphicFramePr>
            <p:xfrm>
              <a:off x="5262226" y="2029718"/>
              <a:ext cx="4251600" cy="237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10" name="图表 9">
                <a:extLst>
                  <a:ext uri="{FF2B5EF4-FFF2-40B4-BE49-F238E27FC236}">
                    <a16:creationId xmlns:a16="http://schemas.microsoft.com/office/drawing/2014/main" id="{983B6ACC-8913-4FA4-AFE2-CFC100D0FC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262226" y="2029718"/>
                <a:ext cx="4251600" cy="237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3" name="图表 12">
                <a:extLst>
                  <a:ext uri="{FF2B5EF4-FFF2-40B4-BE49-F238E27FC236}">
                    <a16:creationId xmlns:a16="http://schemas.microsoft.com/office/drawing/2014/main" id="{3DD774F1-0AB3-44E1-BF7A-08719DCB5B4B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857252871"/>
                  </p:ext>
                </p:extLst>
              </p:nvPr>
            </p:nvGraphicFramePr>
            <p:xfrm>
              <a:off x="601920" y="4644992"/>
              <a:ext cx="4251600" cy="237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13" name="图表 12">
                <a:extLst>
                  <a:ext uri="{FF2B5EF4-FFF2-40B4-BE49-F238E27FC236}">
                    <a16:creationId xmlns:a16="http://schemas.microsoft.com/office/drawing/2014/main" id="{3DD774F1-0AB3-44E1-BF7A-08719DCB5B4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01920" y="4644992"/>
                <a:ext cx="4251600" cy="237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6" name="图表 15">
                <a:extLst>
                  <a:ext uri="{FF2B5EF4-FFF2-40B4-BE49-F238E27FC236}">
                    <a16:creationId xmlns:a16="http://schemas.microsoft.com/office/drawing/2014/main" id="{7D734BD7-596F-4F10-9A34-400C3FF92DC8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151407864"/>
                  </p:ext>
                </p:extLst>
              </p:nvPr>
            </p:nvGraphicFramePr>
            <p:xfrm>
              <a:off x="5262226" y="4644992"/>
              <a:ext cx="4251600" cy="2376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>
          <p:pic>
            <p:nvPicPr>
              <p:cNvPr id="16" name="图表 15">
                <a:extLst>
                  <a:ext uri="{FF2B5EF4-FFF2-40B4-BE49-F238E27FC236}">
                    <a16:creationId xmlns:a16="http://schemas.microsoft.com/office/drawing/2014/main" id="{7D734BD7-596F-4F10-9A34-400C3FF92DC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262226" y="4644992"/>
                <a:ext cx="4251600" cy="237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7124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8JKVaUakeRYWkoRxF8cg"/>
</p:tagLst>
</file>

<file path=ppt/theme/theme1.xml><?xml version="1.0" encoding="utf-8"?>
<a:theme xmlns:a="http://schemas.openxmlformats.org/drawingml/2006/main" name="CICC IBD">
  <a:themeElements>
    <a:clrScheme name="自定义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BAA7B"/>
      </a:accent1>
      <a:accent2>
        <a:srgbClr val="BEC0C2"/>
      </a:accent2>
      <a:accent3>
        <a:srgbClr val="C7674B"/>
      </a:accent3>
      <a:accent4>
        <a:srgbClr val="8A90A5"/>
      </a:accent4>
      <a:accent5>
        <a:srgbClr val="DF9753"/>
      </a:accent5>
      <a:accent6>
        <a:srgbClr val="DEC9AC"/>
      </a:accent6>
      <a:hlink>
        <a:srgbClr val="0000FF"/>
      </a:hlink>
      <a:folHlink>
        <a:srgbClr val="800080"/>
      </a:folHlink>
    </a:clrScheme>
    <a:fontScheme name="IBD">
      <a:majorFont>
        <a:latin typeface="Arial"/>
        <a:ea typeface="楷体_GB2312"/>
        <a:cs typeface=""/>
      </a:majorFont>
      <a:minorFont>
        <a:latin typeface="Arial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/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>
        <a:ln w="12700">
          <a:solidFill>
            <a:srgbClr val="000000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72000" tIns="18000" rIns="72000" bIns="18000" rtlCol="0">
        <a:noAutofit/>
      </a:bodyPr>
      <a:lstStyle>
        <a:defPP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次要文本色">
      <a:srgbClr val="DECEA6"/>
    </a:custClr>
    <a:custClr name="主要文本色">
      <a:srgbClr val="ECECEC"/>
    </a:custClr>
    <a:custClr name="其他文本色">
      <a:srgbClr val="E7B17E"/>
    </a:custClr>
    <a:custClr name="标题/核心色">
      <a:srgbClr val="9B351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图表色1">
      <a:srgbClr val="CBAA7B"/>
    </a:custClr>
    <a:custClr name="图表色2">
      <a:srgbClr val="BEC0C2"/>
    </a:custClr>
    <a:custClr name="图表色3">
      <a:srgbClr val="C7674B"/>
    </a:custClr>
    <a:custClr name="图表色4">
      <a:srgbClr val="8A90A5"/>
    </a:custClr>
    <a:custClr name="图表色5">
      <a:srgbClr val="DF9753"/>
    </a:custClr>
    <a:custClr name="图表色6">
      <a:srgbClr val="DEC9AC"/>
    </a:custClr>
    <a:custClr name="图表色7">
      <a:srgbClr val="E5E6E7"/>
    </a:custClr>
    <a:custClr name="图表色8">
      <a:srgbClr val="D58D78"/>
    </a:custClr>
    <a:custClr name="图表色9">
      <a:srgbClr val="B1B5C3"/>
    </a:custClr>
    <a:custClr name="图表色10">
      <a:srgbClr val="E7B17E"/>
    </a:custClr>
    <a:custClr name="补充文本色1">
      <a:srgbClr val="B4A28D"/>
    </a:custClr>
    <a:custClr name="补充文本色2">
      <a:srgbClr val="CDC1B3"/>
    </a:custClr>
    <a:custClr name="补充文本色3">
      <a:srgbClr val="D8BF9A"/>
    </a:custClr>
    <a:custClr name="补充文本色4">
      <a:srgbClr val="D8D9DA"/>
    </a:custClr>
    <a:custClr name="补充文本色5">
      <a:srgbClr val="E5B9AD"/>
    </a:custClr>
    <a:custClr name="补充文本色6">
      <a:srgbClr val="DFD8E6"/>
    </a:custClr>
    <a:custClr name="补充文本色7">
      <a:srgbClr val="636B87"/>
    </a:custClr>
    <a:custClr name="补充文本色8">
      <a:srgbClr val="CFB77B"/>
    </a:custClr>
    <a:custClr name="补充文本色9">
      <a:srgbClr val="B9411E"/>
    </a:custClr>
    <a:custClr name="补充文本色10">
      <a:srgbClr val="D77D28"/>
    </a:custClr>
    <a:custClr name="线条色1">
      <a:srgbClr val="731E00"/>
    </a:custClr>
    <a:custClr name="线条色2">
      <a:srgbClr val="BD8C46"/>
    </a:custClr>
    <a:custClr name="线条色3">
      <a:srgbClr val="3C4669"/>
    </a:custClr>
    <a:custClr name="线条色4">
      <a:srgbClr val="7F7F7F"/>
    </a:custClr>
    <a:custClr name="线条色5">
      <a:srgbClr val="0070C0"/>
    </a:custClr>
    <a:custClr name="线条色6">
      <a:srgbClr val="9B69FF"/>
    </a:custClr>
    <a:custClr name="线条色7">
      <a:srgbClr val="D77D28"/>
    </a:custClr>
    <a:custClr name="线条色8">
      <a:srgbClr val="826441"/>
    </a:custClr>
    <a:custClr>
      <a:srgbClr val="FFFFFF"/>
    </a:custClr>
    <a:custClr>
      <a:srgbClr val="FFFFFF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8</TotalTime>
  <Words>529</Words>
  <Application>Microsoft Office PowerPoint</Application>
  <PresentationFormat>自定义</PresentationFormat>
  <Paragraphs>39</Paragraphs>
  <Slides>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9" baseType="lpstr">
      <vt:lpstr>黑体</vt:lpstr>
      <vt:lpstr>Arial</vt:lpstr>
      <vt:lpstr>Wingdings</vt:lpstr>
      <vt:lpstr>CICC IBD</vt:lpstr>
      <vt:lpstr>PowerPoint 演示文稿</vt:lpstr>
      <vt:lpstr>雪球式期权：具有自动敲入敲出结构的奇异期权</vt:lpstr>
      <vt:lpstr>案例：创业板指数最大回撤分布情况研究</vt:lpstr>
      <vt:lpstr>案例：创业板指数最大回撤分布情况研究</vt:lpstr>
      <vt:lpstr>案例：创业板指数最大回撤分布情况研究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Di Ding (IB)</dc:creator>
  <cp:lastModifiedBy>Jenny</cp:lastModifiedBy>
  <cp:revision>55</cp:revision>
  <dcterms:created xsi:type="dcterms:W3CDTF">2011-06-28T01:27:34Z</dcterms:created>
  <dcterms:modified xsi:type="dcterms:W3CDTF">2021-03-16T02:20:18Z</dcterms:modified>
</cp:coreProperties>
</file>